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2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3068D-4BC0-74D7-DA6A-43BC8914D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F82335E-8B86-BCE3-325C-1A2CD10FC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82335E-8B86-BCE3-325C-1A2CD10FC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EBA9F6-91B8-F178-EFFE-7F9122690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ces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14A3D0D-65E8-160C-3ACB-03297E24748A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1" name="Google Shape;2173;p36">
            <a:extLst>
              <a:ext uri="{FF2B5EF4-FFF2-40B4-BE49-F238E27FC236}">
                <a16:creationId xmlns:a16="http://schemas.microsoft.com/office/drawing/2014/main" id="{60405AAF-F478-3F13-9272-052BB12D4B5C}"/>
              </a:ext>
            </a:extLst>
          </p:cNvPr>
          <p:cNvSpPr/>
          <p:nvPr/>
        </p:nvSpPr>
        <p:spPr>
          <a:xfrm>
            <a:off x="6206482" y="2148420"/>
            <a:ext cx="2932173" cy="2124692"/>
          </a:xfrm>
          <a:custGeom>
            <a:avLst/>
            <a:gdLst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540319 w 4292311"/>
              <a:gd name="connsiteY2" fmla="*/ 1995854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27334 h 2013439"/>
              <a:gd name="connsiteX1" fmla="*/ 494034 w 4292311"/>
              <a:gd name="connsiteY1" fmla="*/ 2013439 h 2013439"/>
              <a:gd name="connsiteX2" fmla="*/ 1625849 w 4292311"/>
              <a:gd name="connsiteY2" fmla="*/ 2002982 h 2013439"/>
              <a:gd name="connsiteX3" fmla="*/ 2692111 w 4292311"/>
              <a:gd name="connsiteY3" fmla="*/ 0 h 2013439"/>
              <a:gd name="connsiteX4" fmla="*/ 3808734 w 4292311"/>
              <a:gd name="connsiteY4" fmla="*/ 8792 h 2013439"/>
              <a:gd name="connsiteX5" fmla="*/ 4292311 w 4292311"/>
              <a:gd name="connsiteY5" fmla="*/ 800100 h 2013439"/>
              <a:gd name="connsiteX0" fmla="*/ 0 w 4292311"/>
              <a:gd name="connsiteY0" fmla="*/ 1218542 h 2004647"/>
              <a:gd name="connsiteX1" fmla="*/ 494034 w 4292311"/>
              <a:gd name="connsiteY1" fmla="*/ 2004647 h 2004647"/>
              <a:gd name="connsiteX2" fmla="*/ 1625849 w 4292311"/>
              <a:gd name="connsiteY2" fmla="*/ 1994190 h 2004647"/>
              <a:gd name="connsiteX3" fmla="*/ 2749131 w 4292311"/>
              <a:gd name="connsiteY3" fmla="*/ 12590 h 2004647"/>
              <a:gd name="connsiteX4" fmla="*/ 3808734 w 4292311"/>
              <a:gd name="connsiteY4" fmla="*/ 0 h 2004647"/>
              <a:gd name="connsiteX5" fmla="*/ 4292311 w 4292311"/>
              <a:gd name="connsiteY5" fmla="*/ 791308 h 2004647"/>
              <a:gd name="connsiteX0" fmla="*/ 0 w 4263801"/>
              <a:gd name="connsiteY0" fmla="*/ 1218542 h 2004647"/>
              <a:gd name="connsiteX1" fmla="*/ 494034 w 4263801"/>
              <a:gd name="connsiteY1" fmla="*/ 2004647 h 2004647"/>
              <a:gd name="connsiteX2" fmla="*/ 1625849 w 4263801"/>
              <a:gd name="connsiteY2" fmla="*/ 1994190 h 2004647"/>
              <a:gd name="connsiteX3" fmla="*/ 2749131 w 4263801"/>
              <a:gd name="connsiteY3" fmla="*/ 12590 h 2004647"/>
              <a:gd name="connsiteX4" fmla="*/ 3808734 w 4263801"/>
              <a:gd name="connsiteY4" fmla="*/ 0 h 2004647"/>
              <a:gd name="connsiteX5" fmla="*/ 4263801 w 4263801"/>
              <a:gd name="connsiteY5" fmla="*/ 791308 h 2004647"/>
              <a:gd name="connsiteX0" fmla="*/ 0 w 4221036"/>
              <a:gd name="connsiteY0" fmla="*/ 1218542 h 2004647"/>
              <a:gd name="connsiteX1" fmla="*/ 494034 w 4221036"/>
              <a:gd name="connsiteY1" fmla="*/ 2004647 h 2004647"/>
              <a:gd name="connsiteX2" fmla="*/ 1625849 w 4221036"/>
              <a:gd name="connsiteY2" fmla="*/ 1994190 h 2004647"/>
              <a:gd name="connsiteX3" fmla="*/ 2749131 w 4221036"/>
              <a:gd name="connsiteY3" fmla="*/ 12590 h 2004647"/>
              <a:gd name="connsiteX4" fmla="*/ 3808734 w 4221036"/>
              <a:gd name="connsiteY4" fmla="*/ 0 h 2004647"/>
              <a:gd name="connsiteX5" fmla="*/ 4221036 w 4221036"/>
              <a:gd name="connsiteY5" fmla="*/ 798435 h 2004647"/>
              <a:gd name="connsiteX0" fmla="*/ 0 w 4249546"/>
              <a:gd name="connsiteY0" fmla="*/ 1218542 h 2004647"/>
              <a:gd name="connsiteX1" fmla="*/ 494034 w 4249546"/>
              <a:gd name="connsiteY1" fmla="*/ 2004647 h 2004647"/>
              <a:gd name="connsiteX2" fmla="*/ 1625849 w 4249546"/>
              <a:gd name="connsiteY2" fmla="*/ 1994190 h 2004647"/>
              <a:gd name="connsiteX3" fmla="*/ 2749131 w 4249546"/>
              <a:gd name="connsiteY3" fmla="*/ 12590 h 2004647"/>
              <a:gd name="connsiteX4" fmla="*/ 3808734 w 4249546"/>
              <a:gd name="connsiteY4" fmla="*/ 0 h 2004647"/>
              <a:gd name="connsiteX5" fmla="*/ 4249546 w 4249546"/>
              <a:gd name="connsiteY5" fmla="*/ 798435 h 2004647"/>
              <a:gd name="connsiteX0" fmla="*/ 0 w 3808734"/>
              <a:gd name="connsiteY0" fmla="*/ 1218542 h 2004647"/>
              <a:gd name="connsiteX1" fmla="*/ 494034 w 3808734"/>
              <a:gd name="connsiteY1" fmla="*/ 2004647 h 2004647"/>
              <a:gd name="connsiteX2" fmla="*/ 1625849 w 3808734"/>
              <a:gd name="connsiteY2" fmla="*/ 1994190 h 2004647"/>
              <a:gd name="connsiteX3" fmla="*/ 2749131 w 3808734"/>
              <a:gd name="connsiteY3" fmla="*/ 12590 h 2004647"/>
              <a:gd name="connsiteX4" fmla="*/ 3808734 w 3808734"/>
              <a:gd name="connsiteY4" fmla="*/ 0 h 2004647"/>
              <a:gd name="connsiteX0" fmla="*/ 0 w 2749131"/>
              <a:gd name="connsiteY0" fmla="*/ 1205952 h 1992057"/>
              <a:gd name="connsiteX1" fmla="*/ 494034 w 2749131"/>
              <a:gd name="connsiteY1" fmla="*/ 1992057 h 1992057"/>
              <a:gd name="connsiteX2" fmla="*/ 1625849 w 2749131"/>
              <a:gd name="connsiteY2" fmla="*/ 1981600 h 1992057"/>
              <a:gd name="connsiteX3" fmla="*/ 2749131 w 2749131"/>
              <a:gd name="connsiteY3" fmla="*/ 0 h 1992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49131" h="1992057" extrusionOk="0">
                <a:moveTo>
                  <a:pt x="0" y="1205952"/>
                </a:moveTo>
                <a:lnTo>
                  <a:pt x="494034" y="1992057"/>
                </a:lnTo>
                <a:lnTo>
                  <a:pt x="1625849" y="1981600"/>
                </a:lnTo>
                <a:lnTo>
                  <a:pt x="2749131" y="0"/>
                </a:lnTo>
              </a:path>
            </a:pathLst>
          </a:custGeom>
          <a:noFill/>
          <a:ln w="165100" cap="flat" cmpd="sng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2" name="Google Shape;2174;p36">
            <a:extLst>
              <a:ext uri="{FF2B5EF4-FFF2-40B4-BE49-F238E27FC236}">
                <a16:creationId xmlns:a16="http://schemas.microsoft.com/office/drawing/2014/main" id="{F81AFE11-4C56-004C-8D63-D3E71B338BEB}"/>
              </a:ext>
            </a:extLst>
          </p:cNvPr>
          <p:cNvSpPr/>
          <p:nvPr/>
        </p:nvSpPr>
        <p:spPr>
          <a:xfrm rot="10800000">
            <a:off x="6217754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068988" y="754584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3" name="Google Shape;2171;p36">
            <a:extLst>
              <a:ext uri="{FF2B5EF4-FFF2-40B4-BE49-F238E27FC236}">
                <a16:creationId xmlns:a16="http://schemas.microsoft.com/office/drawing/2014/main" id="{A7691384-FF0B-5993-F981-D014702703CE}"/>
              </a:ext>
            </a:extLst>
          </p:cNvPr>
          <p:cNvSpPr/>
          <p:nvPr/>
        </p:nvSpPr>
        <p:spPr>
          <a:xfrm>
            <a:off x="1361553" y="2125619"/>
            <a:ext cx="4646168" cy="2147498"/>
          </a:xfrm>
          <a:custGeom>
            <a:avLst/>
            <a:gdLst/>
            <a:ahLst/>
            <a:cxnLst/>
            <a:rect l="l" t="t" r="r" b="b"/>
            <a:pathLst>
              <a:path w="4356129" h="2013439" extrusionOk="0">
                <a:moveTo>
                  <a:pt x="2119229" y="714391"/>
                </a:moveTo>
                <a:lnTo>
                  <a:pt x="1679987" y="13518"/>
                </a:lnTo>
                <a:lnTo>
                  <a:pt x="567695" y="10105"/>
                </a:lnTo>
                <a:lnTo>
                  <a:pt x="0" y="964661"/>
                </a:lnTo>
                <a:lnTo>
                  <a:pt x="557852" y="2013439"/>
                </a:lnTo>
                <a:lnTo>
                  <a:pt x="1604137" y="1995854"/>
                </a:lnTo>
                <a:lnTo>
                  <a:pt x="2755929" y="0"/>
                </a:lnTo>
                <a:lnTo>
                  <a:pt x="3872552" y="8792"/>
                </a:lnTo>
                <a:lnTo>
                  <a:pt x="4356129" y="800100"/>
                </a:lnTo>
              </a:path>
            </a:pathLst>
          </a:custGeom>
          <a:noFill/>
          <a:ln w="165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4" name="Google Shape;2172;p36">
            <a:extLst>
              <a:ext uri="{FF2B5EF4-FFF2-40B4-BE49-F238E27FC236}">
                <a16:creationId xmlns:a16="http://schemas.microsoft.com/office/drawing/2014/main" id="{B45B86A5-A3E2-C77A-2430-EF7063A82ED5}"/>
              </a:ext>
            </a:extLst>
          </p:cNvPr>
          <p:cNvSpPr/>
          <p:nvPr/>
        </p:nvSpPr>
        <p:spPr>
          <a:xfrm>
            <a:off x="3810450" y="2125619"/>
            <a:ext cx="4585706" cy="2147498"/>
          </a:xfrm>
          <a:custGeom>
            <a:avLst/>
            <a:gdLst/>
            <a:ahLst/>
            <a:cxnLst/>
            <a:rect l="l" t="t" r="r" b="b"/>
            <a:pathLst>
              <a:path w="4299438" h="2013439" extrusionOk="0">
                <a:moveTo>
                  <a:pt x="0" y="1099040"/>
                </a:moveTo>
                <a:lnTo>
                  <a:pt x="501161" y="2013439"/>
                </a:lnTo>
                <a:lnTo>
                  <a:pt x="1547446" y="1995854"/>
                </a:lnTo>
                <a:lnTo>
                  <a:pt x="2699238" y="0"/>
                </a:lnTo>
                <a:lnTo>
                  <a:pt x="3815861" y="8792"/>
                </a:lnTo>
                <a:lnTo>
                  <a:pt x="4299438" y="800100"/>
                </a:lnTo>
              </a:path>
            </a:pathLst>
          </a:custGeom>
          <a:noFill/>
          <a:ln w="1651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95" name="Google Shape;2176;p36">
            <a:extLst>
              <a:ext uri="{FF2B5EF4-FFF2-40B4-BE49-F238E27FC236}">
                <a16:creationId xmlns:a16="http://schemas.microsoft.com/office/drawing/2014/main" id="{ABD07743-25D1-67F9-B16C-233D2A446C13}"/>
              </a:ext>
            </a:extLst>
          </p:cNvPr>
          <p:cNvSpPr txBox="1"/>
          <p:nvPr/>
        </p:nvSpPr>
        <p:spPr>
          <a:xfrm>
            <a:off x="1265942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6" name="Google Shape;2177;p36">
            <a:extLst>
              <a:ext uri="{FF2B5EF4-FFF2-40B4-BE49-F238E27FC236}">
                <a16:creationId xmlns:a16="http://schemas.microsoft.com/office/drawing/2014/main" id="{735ED56B-4614-5779-B259-6DA046F26F39}"/>
              </a:ext>
            </a:extLst>
          </p:cNvPr>
          <p:cNvSpPr txBox="1"/>
          <p:nvPr/>
        </p:nvSpPr>
        <p:spPr>
          <a:xfrm>
            <a:off x="1265942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7" name="Google Shape;2178;p36">
            <a:extLst>
              <a:ext uri="{FF2B5EF4-FFF2-40B4-BE49-F238E27FC236}">
                <a16:creationId xmlns:a16="http://schemas.microsoft.com/office/drawing/2014/main" id="{42E17E80-447F-7E41-26C4-EE33DDE8A122}"/>
              </a:ext>
            </a:extLst>
          </p:cNvPr>
          <p:cNvSpPr txBox="1"/>
          <p:nvPr/>
        </p:nvSpPr>
        <p:spPr>
          <a:xfrm>
            <a:off x="8458080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98" name="Google Shape;2179;p36">
            <a:extLst>
              <a:ext uri="{FF2B5EF4-FFF2-40B4-BE49-F238E27FC236}">
                <a16:creationId xmlns:a16="http://schemas.microsoft.com/office/drawing/2014/main" id="{BFC6DD8A-03A6-C503-B351-C7066B50C490}"/>
              </a:ext>
            </a:extLst>
          </p:cNvPr>
          <p:cNvSpPr txBox="1"/>
          <p:nvPr/>
        </p:nvSpPr>
        <p:spPr>
          <a:xfrm>
            <a:off x="8458080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99" name="Google Shape;2180;p36">
            <a:extLst>
              <a:ext uri="{FF2B5EF4-FFF2-40B4-BE49-F238E27FC236}">
                <a16:creationId xmlns:a16="http://schemas.microsoft.com/office/drawing/2014/main" id="{4337E4A7-2B2D-1E0E-EC84-4F46448A1726}"/>
              </a:ext>
            </a:extLst>
          </p:cNvPr>
          <p:cNvSpPr txBox="1"/>
          <p:nvPr/>
        </p:nvSpPr>
        <p:spPr>
          <a:xfrm>
            <a:off x="3663322" y="961778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0" name="Google Shape;2181;p36">
            <a:extLst>
              <a:ext uri="{FF2B5EF4-FFF2-40B4-BE49-F238E27FC236}">
                <a16:creationId xmlns:a16="http://schemas.microsoft.com/office/drawing/2014/main" id="{7EC11705-868D-F0D2-293E-17D7DC6AAEA5}"/>
              </a:ext>
            </a:extLst>
          </p:cNvPr>
          <p:cNvSpPr txBox="1"/>
          <p:nvPr/>
        </p:nvSpPr>
        <p:spPr>
          <a:xfrm>
            <a:off x="3663322" y="1272506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1" name="Google Shape;2182;p36">
            <a:extLst>
              <a:ext uri="{FF2B5EF4-FFF2-40B4-BE49-F238E27FC236}">
                <a16:creationId xmlns:a16="http://schemas.microsoft.com/office/drawing/2014/main" id="{B284F0EA-59C7-1ED2-55B8-B15F18EB3123}"/>
              </a:ext>
            </a:extLst>
          </p:cNvPr>
          <p:cNvSpPr txBox="1"/>
          <p:nvPr/>
        </p:nvSpPr>
        <p:spPr>
          <a:xfrm>
            <a:off x="6060700" y="4635359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b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cs typeface="Arial" panose="020B0604020202020204" pitchFamily="34" charset="0"/>
              </a:rPr>
              <a:t>Title</a:t>
            </a:r>
            <a:endParaRPr sz="1600" b="1" dirty="0">
              <a:cs typeface="Arial" panose="020B0604020202020204" pitchFamily="34" charset="0"/>
            </a:endParaRPr>
          </a:p>
        </p:txBody>
      </p:sp>
      <p:sp>
        <p:nvSpPr>
          <p:cNvPr id="102" name="Google Shape;2183;p36">
            <a:extLst>
              <a:ext uri="{FF2B5EF4-FFF2-40B4-BE49-F238E27FC236}">
                <a16:creationId xmlns:a16="http://schemas.microsoft.com/office/drawing/2014/main" id="{151D6506-C462-F3D3-BDDA-4FE38CC0344F}"/>
              </a:ext>
            </a:extLst>
          </p:cNvPr>
          <p:cNvSpPr txBox="1"/>
          <p:nvPr/>
        </p:nvSpPr>
        <p:spPr>
          <a:xfrm>
            <a:off x="6060700" y="5000572"/>
            <a:ext cx="2467979" cy="39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125" tIns="75042" rIns="150125" bIns="75042" anchor="t" anchorCtr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Arial" panose="020B0604020202020204" pitchFamily="34" charset="0"/>
              </a:rPr>
              <a:t>Insert Text Here</a:t>
            </a:r>
            <a:endParaRPr sz="1600" dirty="0">
              <a:cs typeface="Arial" panose="020B0604020202020204" pitchFamily="34" charset="0"/>
            </a:endParaRPr>
          </a:p>
        </p:txBody>
      </p:sp>
      <p:sp>
        <p:nvSpPr>
          <p:cNvPr id="103" name="Freeform 1532">
            <a:extLst>
              <a:ext uri="{FF2B5EF4-FFF2-40B4-BE49-F238E27FC236}">
                <a16:creationId xmlns:a16="http://schemas.microsoft.com/office/drawing/2014/main" id="{BB278CEE-3EC0-57E4-F08B-C9DF8FC0C594}"/>
              </a:ext>
            </a:extLst>
          </p:cNvPr>
          <p:cNvSpPr>
            <a:spLocks noEditPoints="1"/>
          </p:cNvSpPr>
          <p:nvPr/>
        </p:nvSpPr>
        <p:spPr bwMode="auto">
          <a:xfrm>
            <a:off x="7450077" y="3407515"/>
            <a:ext cx="204829" cy="201420"/>
          </a:xfrm>
          <a:custGeom>
            <a:avLst/>
            <a:gdLst>
              <a:gd name="T0" fmla="*/ 16 w 41"/>
              <a:gd name="T1" fmla="*/ 41 h 41"/>
              <a:gd name="T2" fmla="*/ 13 w 41"/>
              <a:gd name="T3" fmla="*/ 40 h 41"/>
              <a:gd name="T4" fmla="*/ 1 w 41"/>
              <a:gd name="T5" fmla="*/ 28 h 41"/>
              <a:gd name="T6" fmla="*/ 0 w 41"/>
              <a:gd name="T7" fmla="*/ 24 h 41"/>
              <a:gd name="T8" fmla="*/ 5 w 41"/>
              <a:gd name="T9" fmla="*/ 7 h 41"/>
              <a:gd name="T10" fmla="*/ 7 w 41"/>
              <a:gd name="T11" fmla="*/ 5 h 41"/>
              <a:gd name="T12" fmla="*/ 24 w 41"/>
              <a:gd name="T13" fmla="*/ 0 h 41"/>
              <a:gd name="T14" fmla="*/ 28 w 41"/>
              <a:gd name="T15" fmla="*/ 1 h 41"/>
              <a:gd name="T16" fmla="*/ 40 w 41"/>
              <a:gd name="T17" fmla="*/ 14 h 41"/>
              <a:gd name="T18" fmla="*/ 40 w 41"/>
              <a:gd name="T19" fmla="*/ 14 h 41"/>
              <a:gd name="T20" fmla="*/ 41 w 41"/>
              <a:gd name="T21" fmla="*/ 17 h 41"/>
              <a:gd name="T22" fmla="*/ 36 w 41"/>
              <a:gd name="T23" fmla="*/ 34 h 41"/>
              <a:gd name="T24" fmla="*/ 34 w 41"/>
              <a:gd name="T25" fmla="*/ 37 h 41"/>
              <a:gd name="T26" fmla="*/ 17 w 41"/>
              <a:gd name="T27" fmla="*/ 41 h 41"/>
              <a:gd name="T28" fmla="*/ 16 w 41"/>
              <a:gd name="T29" fmla="*/ 41 h 41"/>
              <a:gd name="T30" fmla="*/ 5 w 41"/>
              <a:gd name="T31" fmla="*/ 25 h 41"/>
              <a:gd name="T32" fmla="*/ 16 w 41"/>
              <a:gd name="T33" fmla="*/ 36 h 41"/>
              <a:gd name="T34" fmla="*/ 32 w 41"/>
              <a:gd name="T35" fmla="*/ 32 h 41"/>
              <a:gd name="T36" fmla="*/ 36 w 41"/>
              <a:gd name="T37" fmla="*/ 17 h 41"/>
              <a:gd name="T38" fmla="*/ 25 w 41"/>
              <a:gd name="T39" fmla="*/ 5 h 41"/>
              <a:gd name="T40" fmla="*/ 9 w 41"/>
              <a:gd name="T41" fmla="*/ 9 h 41"/>
              <a:gd name="T42" fmla="*/ 5 w 41"/>
              <a:gd name="T43" fmla="*/ 25 h 41"/>
              <a:gd name="T44" fmla="*/ 32 w 41"/>
              <a:gd name="T45" fmla="*/ 33 h 41"/>
              <a:gd name="T46" fmla="*/ 32 w 41"/>
              <a:gd name="T47" fmla="*/ 33 h 41"/>
              <a:gd name="T48" fmla="*/ 5 w 41"/>
              <a:gd name="T49" fmla="*/ 26 h 41"/>
              <a:gd name="T50" fmla="*/ 5 w 41"/>
              <a:gd name="T51" fmla="*/ 26 h 41"/>
              <a:gd name="T52" fmla="*/ 5 w 41"/>
              <a:gd name="T53" fmla="*/ 26 h 41"/>
              <a:gd name="T54" fmla="*/ 36 w 41"/>
              <a:gd name="T55" fmla="*/ 16 h 41"/>
              <a:gd name="T56" fmla="*/ 36 w 41"/>
              <a:gd name="T57" fmla="*/ 16 h 41"/>
              <a:gd name="T58" fmla="*/ 9 w 41"/>
              <a:gd name="T59" fmla="*/ 9 h 41"/>
              <a:gd name="T60" fmla="*/ 9 w 41"/>
              <a:gd name="T61" fmla="*/ 9 h 41"/>
              <a:gd name="T62" fmla="*/ 9 w 41"/>
              <a:gd name="T63" fmla="*/ 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" h="41">
                <a:moveTo>
                  <a:pt x="16" y="41"/>
                </a:moveTo>
                <a:cubicBezTo>
                  <a:pt x="15" y="41"/>
                  <a:pt x="14" y="41"/>
                  <a:pt x="13" y="4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27"/>
                  <a:pt x="0" y="26"/>
                  <a:pt x="0" y="24"/>
                </a:cubicBezTo>
                <a:cubicBezTo>
                  <a:pt x="5" y="7"/>
                  <a:pt x="5" y="7"/>
                  <a:pt x="5" y="7"/>
                </a:cubicBezTo>
                <a:cubicBezTo>
                  <a:pt x="5" y="6"/>
                  <a:pt x="6" y="5"/>
                  <a:pt x="7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0"/>
                  <a:pt x="28" y="1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14"/>
                  <a:pt x="40" y="14"/>
                  <a:pt x="40" y="14"/>
                </a:cubicBezTo>
                <a:cubicBezTo>
                  <a:pt x="41" y="15"/>
                  <a:pt x="41" y="16"/>
                  <a:pt x="41" y="17"/>
                </a:cubicBezTo>
                <a:cubicBezTo>
                  <a:pt x="36" y="34"/>
                  <a:pt x="36" y="34"/>
                  <a:pt x="36" y="34"/>
                </a:cubicBezTo>
                <a:cubicBezTo>
                  <a:pt x="36" y="35"/>
                  <a:pt x="35" y="36"/>
                  <a:pt x="34" y="37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1"/>
                  <a:pt x="16" y="41"/>
                  <a:pt x="16" y="41"/>
                </a:cubicBezTo>
                <a:close/>
                <a:moveTo>
                  <a:pt x="5" y="25"/>
                </a:moveTo>
                <a:cubicBezTo>
                  <a:pt x="16" y="36"/>
                  <a:pt x="16" y="36"/>
                  <a:pt x="16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6" y="17"/>
                  <a:pt x="36" y="17"/>
                  <a:pt x="36" y="17"/>
                </a:cubicBezTo>
                <a:cubicBezTo>
                  <a:pt x="25" y="5"/>
                  <a:pt x="25" y="5"/>
                  <a:pt x="25" y="5"/>
                </a:cubicBezTo>
                <a:cubicBezTo>
                  <a:pt x="9" y="9"/>
                  <a:pt x="9" y="9"/>
                  <a:pt x="9" y="9"/>
                </a:cubicBezTo>
                <a:lnTo>
                  <a:pt x="5" y="25"/>
                </a:lnTo>
                <a:close/>
                <a:moveTo>
                  <a:pt x="32" y="33"/>
                </a:moveTo>
                <a:cubicBezTo>
                  <a:pt x="32" y="33"/>
                  <a:pt x="32" y="33"/>
                  <a:pt x="32" y="33"/>
                </a:cubicBezTo>
                <a:close/>
                <a:moveTo>
                  <a:pt x="5" y="26"/>
                </a:moveTo>
                <a:cubicBezTo>
                  <a:pt x="5" y="26"/>
                  <a:pt x="5" y="26"/>
                  <a:pt x="5" y="26"/>
                </a:cubicBezTo>
                <a:cubicBezTo>
                  <a:pt x="5" y="26"/>
                  <a:pt x="5" y="26"/>
                  <a:pt x="5" y="26"/>
                </a:cubicBezTo>
                <a:close/>
                <a:moveTo>
                  <a:pt x="36" y="16"/>
                </a:moveTo>
                <a:cubicBezTo>
                  <a:pt x="36" y="16"/>
                  <a:pt x="36" y="16"/>
                  <a:pt x="36" y="16"/>
                </a:cubicBezTo>
                <a:close/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4" name="Freeform 1533">
            <a:extLst>
              <a:ext uri="{FF2B5EF4-FFF2-40B4-BE49-F238E27FC236}">
                <a16:creationId xmlns:a16="http://schemas.microsoft.com/office/drawing/2014/main" id="{7F6A5C27-624D-4E40-10B7-7352228B4A7C}"/>
              </a:ext>
            </a:extLst>
          </p:cNvPr>
          <p:cNvSpPr>
            <a:spLocks/>
          </p:cNvSpPr>
          <p:nvPr/>
        </p:nvSpPr>
        <p:spPr bwMode="auto">
          <a:xfrm>
            <a:off x="6885035" y="2848411"/>
            <a:ext cx="229551" cy="225726"/>
          </a:xfrm>
          <a:custGeom>
            <a:avLst/>
            <a:gdLst>
              <a:gd name="T0" fmla="*/ 18 w 46"/>
              <a:gd name="T1" fmla="*/ 46 h 46"/>
              <a:gd name="T2" fmla="*/ 16 w 46"/>
              <a:gd name="T3" fmla="*/ 45 h 46"/>
              <a:gd name="T4" fmla="*/ 1 w 46"/>
              <a:gd name="T5" fmla="*/ 30 h 46"/>
              <a:gd name="T6" fmla="*/ 1 w 46"/>
              <a:gd name="T7" fmla="*/ 26 h 46"/>
              <a:gd name="T8" fmla="*/ 5 w 46"/>
              <a:gd name="T9" fmla="*/ 26 h 46"/>
              <a:gd name="T10" fmla="*/ 19 w 46"/>
              <a:gd name="T11" fmla="*/ 41 h 46"/>
              <a:gd name="T12" fmla="*/ 36 w 46"/>
              <a:gd name="T13" fmla="*/ 36 h 46"/>
              <a:gd name="T14" fmla="*/ 40 w 46"/>
              <a:gd name="T15" fmla="*/ 19 h 46"/>
              <a:gd name="T16" fmla="*/ 26 w 46"/>
              <a:gd name="T17" fmla="*/ 5 h 46"/>
              <a:gd name="T18" fmla="*/ 26 w 46"/>
              <a:gd name="T19" fmla="*/ 1 h 46"/>
              <a:gd name="T20" fmla="*/ 30 w 46"/>
              <a:gd name="T21" fmla="*/ 1 h 46"/>
              <a:gd name="T22" fmla="*/ 45 w 46"/>
              <a:gd name="T23" fmla="*/ 17 h 46"/>
              <a:gd name="T24" fmla="*/ 45 w 46"/>
              <a:gd name="T25" fmla="*/ 19 h 46"/>
              <a:gd name="T26" fmla="*/ 40 w 46"/>
              <a:gd name="T27" fmla="*/ 39 h 46"/>
              <a:gd name="T28" fmla="*/ 38 w 46"/>
              <a:gd name="T29" fmla="*/ 40 h 46"/>
              <a:gd name="T30" fmla="*/ 19 w 46"/>
              <a:gd name="T31" fmla="*/ 46 h 46"/>
              <a:gd name="T32" fmla="*/ 18 w 46"/>
              <a:gd name="T33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46">
                <a:moveTo>
                  <a:pt x="18" y="46"/>
                </a:moveTo>
                <a:cubicBezTo>
                  <a:pt x="18" y="46"/>
                  <a:pt x="17" y="46"/>
                  <a:pt x="16" y="45"/>
                </a:cubicBezTo>
                <a:cubicBezTo>
                  <a:pt x="1" y="30"/>
                  <a:pt x="1" y="30"/>
                  <a:pt x="1" y="30"/>
                </a:cubicBezTo>
                <a:cubicBezTo>
                  <a:pt x="0" y="29"/>
                  <a:pt x="0" y="27"/>
                  <a:pt x="1" y="26"/>
                </a:cubicBezTo>
                <a:cubicBezTo>
                  <a:pt x="2" y="25"/>
                  <a:pt x="4" y="25"/>
                  <a:pt x="5" y="26"/>
                </a:cubicBezTo>
                <a:cubicBezTo>
                  <a:pt x="19" y="41"/>
                  <a:pt x="19" y="41"/>
                  <a:pt x="19" y="41"/>
                </a:cubicBezTo>
                <a:cubicBezTo>
                  <a:pt x="36" y="36"/>
                  <a:pt x="36" y="36"/>
                  <a:pt x="36" y="36"/>
                </a:cubicBezTo>
                <a:cubicBezTo>
                  <a:pt x="40" y="19"/>
                  <a:pt x="40" y="19"/>
                  <a:pt x="40" y="19"/>
                </a:cubicBezTo>
                <a:cubicBezTo>
                  <a:pt x="26" y="5"/>
                  <a:pt x="26" y="5"/>
                  <a:pt x="26" y="5"/>
                </a:cubicBezTo>
                <a:cubicBezTo>
                  <a:pt x="25" y="4"/>
                  <a:pt x="25" y="2"/>
                  <a:pt x="26" y="1"/>
                </a:cubicBezTo>
                <a:cubicBezTo>
                  <a:pt x="27" y="0"/>
                  <a:pt x="29" y="0"/>
                  <a:pt x="30" y="1"/>
                </a:cubicBezTo>
                <a:cubicBezTo>
                  <a:pt x="45" y="17"/>
                  <a:pt x="45" y="17"/>
                  <a:pt x="45" y="17"/>
                </a:cubicBezTo>
                <a:cubicBezTo>
                  <a:pt x="45" y="17"/>
                  <a:pt x="46" y="18"/>
                  <a:pt x="45" y="1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40"/>
                  <a:pt x="39" y="40"/>
                  <a:pt x="38" y="40"/>
                </a:cubicBezTo>
                <a:cubicBezTo>
                  <a:pt x="19" y="46"/>
                  <a:pt x="19" y="46"/>
                  <a:pt x="19" y="46"/>
                </a:cubicBezTo>
                <a:cubicBezTo>
                  <a:pt x="19" y="46"/>
                  <a:pt x="18" y="46"/>
                  <a:pt x="18" y="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5" name="Freeform 1534">
            <a:extLst>
              <a:ext uri="{FF2B5EF4-FFF2-40B4-BE49-F238E27FC236}">
                <a16:creationId xmlns:a16="http://schemas.microsoft.com/office/drawing/2014/main" id="{129E40AD-45D7-1EB4-BF46-7C83AF3F7582}"/>
              </a:ext>
            </a:extLst>
          </p:cNvPr>
          <p:cNvSpPr>
            <a:spLocks/>
          </p:cNvSpPr>
          <p:nvPr/>
        </p:nvSpPr>
        <p:spPr bwMode="auto">
          <a:xfrm>
            <a:off x="6877969" y="2969957"/>
            <a:ext cx="257801" cy="197944"/>
          </a:xfrm>
          <a:custGeom>
            <a:avLst/>
            <a:gdLst>
              <a:gd name="T0" fmla="*/ 33 w 51"/>
              <a:gd name="T1" fmla="*/ 40 h 40"/>
              <a:gd name="T2" fmla="*/ 11 w 51"/>
              <a:gd name="T3" fmla="*/ 30 h 40"/>
              <a:gd name="T4" fmla="*/ 1 w 51"/>
              <a:gd name="T5" fmla="*/ 3 h 40"/>
              <a:gd name="T6" fmla="*/ 4 w 51"/>
              <a:gd name="T7" fmla="*/ 1 h 40"/>
              <a:gd name="T8" fmla="*/ 6 w 51"/>
              <a:gd name="T9" fmla="*/ 3 h 40"/>
              <a:gd name="T10" fmla="*/ 14 w 51"/>
              <a:gd name="T11" fmla="*/ 27 h 40"/>
              <a:gd name="T12" fmla="*/ 47 w 51"/>
              <a:gd name="T13" fmla="*/ 31 h 40"/>
              <a:gd name="T14" fmla="*/ 50 w 51"/>
              <a:gd name="T15" fmla="*/ 32 h 40"/>
              <a:gd name="T16" fmla="*/ 50 w 51"/>
              <a:gd name="T17" fmla="*/ 35 h 40"/>
              <a:gd name="T18" fmla="*/ 33 w 51"/>
              <a:gd name="T1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" h="40">
                <a:moveTo>
                  <a:pt x="33" y="40"/>
                </a:moveTo>
                <a:cubicBezTo>
                  <a:pt x="25" y="40"/>
                  <a:pt x="17" y="36"/>
                  <a:pt x="11" y="30"/>
                </a:cubicBezTo>
                <a:cubicBezTo>
                  <a:pt x="3" y="23"/>
                  <a:pt x="0" y="13"/>
                  <a:pt x="1" y="3"/>
                </a:cubicBezTo>
                <a:cubicBezTo>
                  <a:pt x="2" y="1"/>
                  <a:pt x="3" y="0"/>
                  <a:pt x="4" y="1"/>
                </a:cubicBezTo>
                <a:cubicBezTo>
                  <a:pt x="6" y="1"/>
                  <a:pt x="7" y="2"/>
                  <a:pt x="6" y="3"/>
                </a:cubicBezTo>
                <a:cubicBezTo>
                  <a:pt x="5" y="12"/>
                  <a:pt x="8" y="21"/>
                  <a:pt x="14" y="27"/>
                </a:cubicBezTo>
                <a:cubicBezTo>
                  <a:pt x="23" y="36"/>
                  <a:pt x="36" y="37"/>
                  <a:pt x="47" y="31"/>
                </a:cubicBezTo>
                <a:cubicBezTo>
                  <a:pt x="48" y="30"/>
                  <a:pt x="50" y="31"/>
                  <a:pt x="50" y="32"/>
                </a:cubicBezTo>
                <a:cubicBezTo>
                  <a:pt x="51" y="33"/>
                  <a:pt x="51" y="34"/>
                  <a:pt x="50" y="35"/>
                </a:cubicBezTo>
                <a:cubicBezTo>
                  <a:pt x="45" y="38"/>
                  <a:pt x="39" y="40"/>
                  <a:pt x="33" y="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6" name="Freeform 1535">
            <a:extLst>
              <a:ext uri="{FF2B5EF4-FFF2-40B4-BE49-F238E27FC236}">
                <a16:creationId xmlns:a16="http://schemas.microsoft.com/office/drawing/2014/main" id="{B5705748-FAB6-9682-6D9B-4E80CB87798B}"/>
              </a:ext>
            </a:extLst>
          </p:cNvPr>
          <p:cNvSpPr>
            <a:spLocks/>
          </p:cNvSpPr>
          <p:nvPr/>
        </p:nvSpPr>
        <p:spPr bwMode="auto">
          <a:xfrm>
            <a:off x="7008637" y="2841463"/>
            <a:ext cx="211890" cy="253511"/>
          </a:xfrm>
          <a:custGeom>
            <a:avLst/>
            <a:gdLst>
              <a:gd name="T0" fmla="*/ 33 w 42"/>
              <a:gd name="T1" fmla="*/ 51 h 51"/>
              <a:gd name="T2" fmla="*/ 31 w 42"/>
              <a:gd name="T3" fmla="*/ 51 h 51"/>
              <a:gd name="T4" fmla="*/ 31 w 42"/>
              <a:gd name="T5" fmla="*/ 47 h 51"/>
              <a:gd name="T6" fmla="*/ 26 w 42"/>
              <a:gd name="T7" fmla="*/ 14 h 51"/>
              <a:gd name="T8" fmla="*/ 3 w 42"/>
              <a:gd name="T9" fmla="*/ 7 h 51"/>
              <a:gd name="T10" fmla="*/ 0 w 42"/>
              <a:gd name="T11" fmla="*/ 5 h 51"/>
              <a:gd name="T12" fmla="*/ 2 w 42"/>
              <a:gd name="T13" fmla="*/ 2 h 51"/>
              <a:gd name="T14" fmla="*/ 30 w 42"/>
              <a:gd name="T15" fmla="*/ 11 h 51"/>
              <a:gd name="T16" fmla="*/ 35 w 42"/>
              <a:gd name="T17" fmla="*/ 50 h 51"/>
              <a:gd name="T18" fmla="*/ 33 w 42"/>
              <a:gd name="T19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" h="51">
                <a:moveTo>
                  <a:pt x="33" y="51"/>
                </a:moveTo>
                <a:cubicBezTo>
                  <a:pt x="32" y="51"/>
                  <a:pt x="32" y="51"/>
                  <a:pt x="31" y="51"/>
                </a:cubicBezTo>
                <a:cubicBezTo>
                  <a:pt x="30" y="50"/>
                  <a:pt x="30" y="49"/>
                  <a:pt x="31" y="47"/>
                </a:cubicBezTo>
                <a:cubicBezTo>
                  <a:pt x="37" y="37"/>
                  <a:pt x="35" y="23"/>
                  <a:pt x="26" y="14"/>
                </a:cubicBezTo>
                <a:cubicBezTo>
                  <a:pt x="20" y="8"/>
                  <a:pt x="12" y="5"/>
                  <a:pt x="3" y="7"/>
                </a:cubicBezTo>
                <a:cubicBezTo>
                  <a:pt x="2" y="7"/>
                  <a:pt x="1" y="6"/>
                  <a:pt x="0" y="5"/>
                </a:cubicBezTo>
                <a:cubicBezTo>
                  <a:pt x="0" y="3"/>
                  <a:pt x="1" y="2"/>
                  <a:pt x="2" y="2"/>
                </a:cubicBezTo>
                <a:cubicBezTo>
                  <a:pt x="12" y="0"/>
                  <a:pt x="23" y="4"/>
                  <a:pt x="30" y="11"/>
                </a:cubicBezTo>
                <a:cubicBezTo>
                  <a:pt x="40" y="21"/>
                  <a:pt x="42" y="37"/>
                  <a:pt x="35" y="50"/>
                </a:cubicBezTo>
                <a:cubicBezTo>
                  <a:pt x="34" y="51"/>
                  <a:pt x="34" y="51"/>
                  <a:pt x="33" y="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7" name="Freeform 1536">
            <a:extLst>
              <a:ext uri="{FF2B5EF4-FFF2-40B4-BE49-F238E27FC236}">
                <a16:creationId xmlns:a16="http://schemas.microsoft.com/office/drawing/2014/main" id="{5EBF384F-55C7-CDE6-14F4-E04D5634DE6F}"/>
              </a:ext>
            </a:extLst>
          </p:cNvPr>
          <p:cNvSpPr>
            <a:spLocks/>
          </p:cNvSpPr>
          <p:nvPr/>
        </p:nvSpPr>
        <p:spPr bwMode="auto">
          <a:xfrm>
            <a:off x="7111048" y="3126227"/>
            <a:ext cx="130668" cy="121544"/>
          </a:xfrm>
          <a:custGeom>
            <a:avLst/>
            <a:gdLst>
              <a:gd name="T0" fmla="*/ 23 w 26"/>
              <a:gd name="T1" fmla="*/ 25 h 25"/>
              <a:gd name="T2" fmla="*/ 21 w 26"/>
              <a:gd name="T3" fmla="*/ 25 h 25"/>
              <a:gd name="T4" fmla="*/ 1 w 26"/>
              <a:gd name="T5" fmla="*/ 4 h 25"/>
              <a:gd name="T6" fmla="*/ 1 w 26"/>
              <a:gd name="T7" fmla="*/ 1 h 25"/>
              <a:gd name="T8" fmla="*/ 5 w 26"/>
              <a:gd name="T9" fmla="*/ 1 h 25"/>
              <a:gd name="T10" fmla="*/ 25 w 26"/>
              <a:gd name="T11" fmla="*/ 21 h 25"/>
              <a:gd name="T12" fmla="*/ 25 w 26"/>
              <a:gd name="T13" fmla="*/ 25 h 25"/>
              <a:gd name="T14" fmla="*/ 23 w 26"/>
              <a:gd name="T1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25">
                <a:moveTo>
                  <a:pt x="23" y="25"/>
                </a:moveTo>
                <a:cubicBezTo>
                  <a:pt x="23" y="25"/>
                  <a:pt x="22" y="25"/>
                  <a:pt x="21" y="25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2"/>
                  <a:pt x="26" y="24"/>
                  <a:pt x="25" y="25"/>
                </a:cubicBezTo>
                <a:cubicBezTo>
                  <a:pt x="24" y="25"/>
                  <a:pt x="24" y="25"/>
                  <a:pt x="23" y="2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8" name="Freeform 1537">
            <a:extLst>
              <a:ext uri="{FF2B5EF4-FFF2-40B4-BE49-F238E27FC236}">
                <a16:creationId xmlns:a16="http://schemas.microsoft.com/office/drawing/2014/main" id="{15BB4FC5-F904-FB91-78DB-22A5D3A13BD0}"/>
              </a:ext>
            </a:extLst>
          </p:cNvPr>
          <p:cNvSpPr>
            <a:spLocks/>
          </p:cNvSpPr>
          <p:nvPr/>
        </p:nvSpPr>
        <p:spPr bwMode="auto">
          <a:xfrm>
            <a:off x="7305285" y="3317222"/>
            <a:ext cx="134198" cy="128494"/>
          </a:xfrm>
          <a:custGeom>
            <a:avLst/>
            <a:gdLst>
              <a:gd name="T0" fmla="*/ 24 w 27"/>
              <a:gd name="T1" fmla="*/ 26 h 26"/>
              <a:gd name="T2" fmla="*/ 22 w 27"/>
              <a:gd name="T3" fmla="*/ 26 h 26"/>
              <a:gd name="T4" fmla="*/ 1 w 27"/>
              <a:gd name="T5" fmla="*/ 4 h 26"/>
              <a:gd name="T6" fmla="*/ 1 w 27"/>
              <a:gd name="T7" fmla="*/ 1 h 26"/>
              <a:gd name="T8" fmla="*/ 5 w 27"/>
              <a:gd name="T9" fmla="*/ 1 h 26"/>
              <a:gd name="T10" fmla="*/ 26 w 27"/>
              <a:gd name="T11" fmla="*/ 22 h 26"/>
              <a:gd name="T12" fmla="*/ 26 w 27"/>
              <a:gd name="T13" fmla="*/ 26 h 26"/>
              <a:gd name="T14" fmla="*/ 24 w 27"/>
              <a:gd name="T15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" h="26">
                <a:moveTo>
                  <a:pt x="24" y="26"/>
                </a:moveTo>
                <a:cubicBezTo>
                  <a:pt x="24" y="26"/>
                  <a:pt x="23" y="26"/>
                  <a:pt x="22" y="26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26" y="22"/>
                  <a:pt x="26" y="22"/>
                  <a:pt x="26" y="22"/>
                </a:cubicBezTo>
                <a:cubicBezTo>
                  <a:pt x="27" y="23"/>
                  <a:pt x="27" y="25"/>
                  <a:pt x="26" y="26"/>
                </a:cubicBezTo>
                <a:cubicBezTo>
                  <a:pt x="25" y="26"/>
                  <a:pt x="25" y="26"/>
                  <a:pt x="24" y="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09" name="Freeform 1538">
            <a:extLst>
              <a:ext uri="{FF2B5EF4-FFF2-40B4-BE49-F238E27FC236}">
                <a16:creationId xmlns:a16="http://schemas.microsoft.com/office/drawing/2014/main" id="{FEB9170B-34F9-9CF2-6131-876D5A6B9C44}"/>
              </a:ext>
            </a:extLst>
          </p:cNvPr>
          <p:cNvSpPr>
            <a:spLocks/>
          </p:cNvSpPr>
          <p:nvPr/>
        </p:nvSpPr>
        <p:spPr bwMode="auto">
          <a:xfrm>
            <a:off x="7164023" y="3074135"/>
            <a:ext cx="328434" cy="322962"/>
          </a:xfrm>
          <a:custGeom>
            <a:avLst/>
            <a:gdLst>
              <a:gd name="T0" fmla="*/ 63 w 65"/>
              <a:gd name="T1" fmla="*/ 65 h 65"/>
              <a:gd name="T2" fmla="*/ 61 w 65"/>
              <a:gd name="T3" fmla="*/ 64 h 65"/>
              <a:gd name="T4" fmla="*/ 1 w 65"/>
              <a:gd name="T5" fmla="*/ 4 h 65"/>
              <a:gd name="T6" fmla="*/ 1 w 65"/>
              <a:gd name="T7" fmla="*/ 1 h 65"/>
              <a:gd name="T8" fmla="*/ 4 w 65"/>
              <a:gd name="T9" fmla="*/ 1 h 65"/>
              <a:gd name="T10" fmla="*/ 64 w 65"/>
              <a:gd name="T11" fmla="*/ 61 h 65"/>
              <a:gd name="T12" fmla="*/ 64 w 65"/>
              <a:gd name="T13" fmla="*/ 64 h 65"/>
              <a:gd name="T14" fmla="*/ 63 w 65"/>
              <a:gd name="T15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" h="65">
                <a:moveTo>
                  <a:pt x="63" y="65"/>
                </a:moveTo>
                <a:cubicBezTo>
                  <a:pt x="62" y="65"/>
                  <a:pt x="61" y="65"/>
                  <a:pt x="61" y="64"/>
                </a:cubicBez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64" y="61"/>
                  <a:pt x="64" y="61"/>
                  <a:pt x="64" y="61"/>
                </a:cubicBezTo>
                <a:cubicBezTo>
                  <a:pt x="65" y="62"/>
                  <a:pt x="65" y="63"/>
                  <a:pt x="64" y="64"/>
                </a:cubicBezTo>
                <a:cubicBezTo>
                  <a:pt x="64" y="65"/>
                  <a:pt x="63" y="65"/>
                  <a:pt x="63" y="6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0" name="Freeform 1539">
            <a:extLst>
              <a:ext uri="{FF2B5EF4-FFF2-40B4-BE49-F238E27FC236}">
                <a16:creationId xmlns:a16="http://schemas.microsoft.com/office/drawing/2014/main" id="{2BC3E056-300C-B998-F466-715A99895260}"/>
              </a:ext>
            </a:extLst>
          </p:cNvPr>
          <p:cNvSpPr>
            <a:spLocks/>
          </p:cNvSpPr>
          <p:nvPr/>
        </p:nvSpPr>
        <p:spPr bwMode="auto">
          <a:xfrm>
            <a:off x="7379446" y="3338063"/>
            <a:ext cx="331963" cy="329904"/>
          </a:xfrm>
          <a:custGeom>
            <a:avLst/>
            <a:gdLst>
              <a:gd name="T0" fmla="*/ 34 w 66"/>
              <a:gd name="T1" fmla="*/ 67 h 67"/>
              <a:gd name="T2" fmla="*/ 12 w 66"/>
              <a:gd name="T3" fmla="*/ 57 h 67"/>
              <a:gd name="T4" fmla="*/ 7 w 66"/>
              <a:gd name="T5" fmla="*/ 19 h 67"/>
              <a:gd name="T6" fmla="*/ 10 w 66"/>
              <a:gd name="T7" fmla="*/ 18 h 67"/>
              <a:gd name="T8" fmla="*/ 11 w 66"/>
              <a:gd name="T9" fmla="*/ 21 h 67"/>
              <a:gd name="T10" fmla="*/ 16 w 66"/>
              <a:gd name="T11" fmla="*/ 54 h 67"/>
              <a:gd name="T12" fmla="*/ 34 w 66"/>
              <a:gd name="T13" fmla="*/ 62 h 67"/>
              <a:gd name="T14" fmla="*/ 53 w 66"/>
              <a:gd name="T15" fmla="*/ 54 h 67"/>
              <a:gd name="T16" fmla="*/ 61 w 66"/>
              <a:gd name="T17" fmla="*/ 35 h 67"/>
              <a:gd name="T18" fmla="*/ 53 w 66"/>
              <a:gd name="T19" fmla="*/ 16 h 67"/>
              <a:gd name="T20" fmla="*/ 21 w 66"/>
              <a:gd name="T21" fmla="*/ 12 h 67"/>
              <a:gd name="T22" fmla="*/ 18 w 66"/>
              <a:gd name="T23" fmla="*/ 11 h 67"/>
              <a:gd name="T24" fmla="*/ 18 w 66"/>
              <a:gd name="T25" fmla="*/ 7 h 67"/>
              <a:gd name="T26" fmla="*/ 57 w 66"/>
              <a:gd name="T27" fmla="*/ 12 h 67"/>
              <a:gd name="T28" fmla="*/ 66 w 66"/>
              <a:gd name="T29" fmla="*/ 35 h 67"/>
              <a:gd name="T30" fmla="*/ 57 w 66"/>
              <a:gd name="T31" fmla="*/ 57 h 67"/>
              <a:gd name="T32" fmla="*/ 34 w 66"/>
              <a:gd name="T33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6" h="67">
                <a:moveTo>
                  <a:pt x="34" y="67"/>
                </a:moveTo>
                <a:cubicBezTo>
                  <a:pt x="26" y="67"/>
                  <a:pt x="18" y="63"/>
                  <a:pt x="12" y="57"/>
                </a:cubicBezTo>
                <a:cubicBezTo>
                  <a:pt x="2" y="47"/>
                  <a:pt x="0" y="31"/>
                  <a:pt x="7" y="19"/>
                </a:cubicBezTo>
                <a:cubicBezTo>
                  <a:pt x="8" y="18"/>
                  <a:pt x="9" y="17"/>
                  <a:pt x="10" y="18"/>
                </a:cubicBezTo>
                <a:cubicBezTo>
                  <a:pt x="12" y="19"/>
                  <a:pt x="12" y="20"/>
                  <a:pt x="11" y="21"/>
                </a:cubicBezTo>
                <a:cubicBezTo>
                  <a:pt x="5" y="32"/>
                  <a:pt x="7" y="45"/>
                  <a:pt x="16" y="54"/>
                </a:cubicBezTo>
                <a:cubicBezTo>
                  <a:pt x="21" y="59"/>
                  <a:pt x="27" y="62"/>
                  <a:pt x="34" y="62"/>
                </a:cubicBezTo>
                <a:cubicBezTo>
                  <a:pt x="42" y="62"/>
                  <a:pt x="48" y="59"/>
                  <a:pt x="53" y="54"/>
                </a:cubicBezTo>
                <a:cubicBezTo>
                  <a:pt x="59" y="49"/>
                  <a:pt x="61" y="42"/>
                  <a:pt x="61" y="35"/>
                </a:cubicBezTo>
                <a:cubicBezTo>
                  <a:pt x="61" y="28"/>
                  <a:pt x="59" y="21"/>
                  <a:pt x="53" y="16"/>
                </a:cubicBezTo>
                <a:cubicBezTo>
                  <a:pt x="45" y="7"/>
                  <a:pt x="31" y="5"/>
                  <a:pt x="21" y="12"/>
                </a:cubicBezTo>
                <a:cubicBezTo>
                  <a:pt x="20" y="12"/>
                  <a:pt x="18" y="12"/>
                  <a:pt x="18" y="11"/>
                </a:cubicBezTo>
                <a:cubicBezTo>
                  <a:pt x="17" y="10"/>
                  <a:pt x="17" y="8"/>
                  <a:pt x="18" y="7"/>
                </a:cubicBezTo>
                <a:cubicBezTo>
                  <a:pt x="31" y="0"/>
                  <a:pt x="47" y="2"/>
                  <a:pt x="57" y="12"/>
                </a:cubicBezTo>
                <a:cubicBezTo>
                  <a:pt x="63" y="18"/>
                  <a:pt x="66" y="26"/>
                  <a:pt x="66" y="35"/>
                </a:cubicBezTo>
                <a:cubicBezTo>
                  <a:pt x="66" y="43"/>
                  <a:pt x="63" y="51"/>
                  <a:pt x="57" y="57"/>
                </a:cubicBezTo>
                <a:cubicBezTo>
                  <a:pt x="51" y="63"/>
                  <a:pt x="43" y="67"/>
                  <a:pt x="34" y="6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1" name="Freeform 1540">
            <a:extLst>
              <a:ext uri="{FF2B5EF4-FFF2-40B4-BE49-F238E27FC236}">
                <a16:creationId xmlns:a16="http://schemas.microsoft.com/office/drawing/2014/main" id="{61DC3C82-B94F-14BD-45AD-9822C410FD70}"/>
              </a:ext>
            </a:extLst>
          </p:cNvPr>
          <p:cNvSpPr>
            <a:spLocks/>
          </p:cNvSpPr>
          <p:nvPr/>
        </p:nvSpPr>
        <p:spPr bwMode="auto">
          <a:xfrm>
            <a:off x="7269968" y="2876193"/>
            <a:ext cx="413190" cy="413251"/>
          </a:xfrm>
          <a:custGeom>
            <a:avLst/>
            <a:gdLst>
              <a:gd name="T0" fmla="*/ 2 w 82"/>
              <a:gd name="T1" fmla="*/ 83 h 83"/>
              <a:gd name="T2" fmla="*/ 1 w 82"/>
              <a:gd name="T3" fmla="*/ 82 h 83"/>
              <a:gd name="T4" fmla="*/ 1 w 82"/>
              <a:gd name="T5" fmla="*/ 78 h 83"/>
              <a:gd name="T6" fmla="*/ 78 w 82"/>
              <a:gd name="T7" fmla="*/ 1 h 83"/>
              <a:gd name="T8" fmla="*/ 81 w 82"/>
              <a:gd name="T9" fmla="*/ 1 h 83"/>
              <a:gd name="T10" fmla="*/ 81 w 82"/>
              <a:gd name="T11" fmla="*/ 5 h 83"/>
              <a:gd name="T12" fmla="*/ 4 w 82"/>
              <a:gd name="T13" fmla="*/ 82 h 83"/>
              <a:gd name="T14" fmla="*/ 2 w 82"/>
              <a:gd name="T15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83">
                <a:moveTo>
                  <a:pt x="2" y="83"/>
                </a:moveTo>
                <a:cubicBezTo>
                  <a:pt x="2" y="83"/>
                  <a:pt x="1" y="82"/>
                  <a:pt x="1" y="82"/>
                </a:cubicBezTo>
                <a:cubicBezTo>
                  <a:pt x="0" y="81"/>
                  <a:pt x="0" y="79"/>
                  <a:pt x="1" y="78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0"/>
                  <a:pt x="80" y="0"/>
                  <a:pt x="81" y="1"/>
                </a:cubicBezTo>
                <a:cubicBezTo>
                  <a:pt x="82" y="2"/>
                  <a:pt x="82" y="4"/>
                  <a:pt x="81" y="5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2"/>
                  <a:pt x="3" y="83"/>
                  <a:pt x="2" y="8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2" name="Freeform 1541">
            <a:extLst>
              <a:ext uri="{FF2B5EF4-FFF2-40B4-BE49-F238E27FC236}">
                <a16:creationId xmlns:a16="http://schemas.microsoft.com/office/drawing/2014/main" id="{D8E2BBE1-7FA6-E15E-EECA-E9C1D16FE37D}"/>
              </a:ext>
            </a:extLst>
          </p:cNvPr>
          <p:cNvSpPr>
            <a:spLocks noEditPoints="1"/>
          </p:cNvSpPr>
          <p:nvPr/>
        </p:nvSpPr>
        <p:spPr bwMode="auto">
          <a:xfrm>
            <a:off x="6888564" y="3268608"/>
            <a:ext cx="402594" cy="385471"/>
          </a:xfrm>
          <a:custGeom>
            <a:avLst/>
            <a:gdLst>
              <a:gd name="T0" fmla="*/ 26 w 80"/>
              <a:gd name="T1" fmla="*/ 78 h 78"/>
              <a:gd name="T2" fmla="*/ 20 w 80"/>
              <a:gd name="T3" fmla="*/ 76 h 78"/>
              <a:gd name="T4" fmla="*/ 4 w 80"/>
              <a:gd name="T5" fmla="*/ 60 h 78"/>
              <a:gd name="T6" fmla="*/ 4 w 80"/>
              <a:gd name="T7" fmla="*/ 48 h 78"/>
              <a:gd name="T8" fmla="*/ 49 w 80"/>
              <a:gd name="T9" fmla="*/ 3 h 78"/>
              <a:gd name="T10" fmla="*/ 55 w 80"/>
              <a:gd name="T11" fmla="*/ 0 h 78"/>
              <a:gd name="T12" fmla="*/ 61 w 80"/>
              <a:gd name="T13" fmla="*/ 3 h 78"/>
              <a:gd name="T14" fmla="*/ 77 w 80"/>
              <a:gd name="T15" fmla="*/ 19 h 78"/>
              <a:gd name="T16" fmla="*/ 77 w 80"/>
              <a:gd name="T17" fmla="*/ 31 h 78"/>
              <a:gd name="T18" fmla="*/ 32 w 80"/>
              <a:gd name="T19" fmla="*/ 76 h 78"/>
              <a:gd name="T20" fmla="*/ 26 w 80"/>
              <a:gd name="T21" fmla="*/ 78 h 78"/>
              <a:gd name="T22" fmla="*/ 55 w 80"/>
              <a:gd name="T23" fmla="*/ 5 h 78"/>
              <a:gd name="T24" fmla="*/ 52 w 80"/>
              <a:gd name="T25" fmla="*/ 7 h 78"/>
              <a:gd name="T26" fmla="*/ 7 w 80"/>
              <a:gd name="T27" fmla="*/ 51 h 78"/>
              <a:gd name="T28" fmla="*/ 7 w 80"/>
              <a:gd name="T29" fmla="*/ 57 h 78"/>
              <a:gd name="T30" fmla="*/ 23 w 80"/>
              <a:gd name="T31" fmla="*/ 72 h 78"/>
              <a:gd name="T32" fmla="*/ 28 w 80"/>
              <a:gd name="T33" fmla="*/ 72 h 78"/>
              <a:gd name="T34" fmla="*/ 73 w 80"/>
              <a:gd name="T35" fmla="*/ 28 h 78"/>
              <a:gd name="T36" fmla="*/ 73 w 80"/>
              <a:gd name="T37" fmla="*/ 22 h 78"/>
              <a:gd name="T38" fmla="*/ 58 w 80"/>
              <a:gd name="T39" fmla="*/ 7 h 78"/>
              <a:gd name="T40" fmla="*/ 55 w 80"/>
              <a:gd name="T41" fmla="*/ 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78">
                <a:moveTo>
                  <a:pt x="26" y="78"/>
                </a:moveTo>
                <a:cubicBezTo>
                  <a:pt x="23" y="78"/>
                  <a:pt x="21" y="77"/>
                  <a:pt x="20" y="76"/>
                </a:cubicBezTo>
                <a:cubicBezTo>
                  <a:pt x="4" y="60"/>
                  <a:pt x="4" y="60"/>
                  <a:pt x="4" y="60"/>
                </a:cubicBezTo>
                <a:cubicBezTo>
                  <a:pt x="0" y="57"/>
                  <a:pt x="0" y="51"/>
                  <a:pt x="4" y="48"/>
                </a:cubicBezTo>
                <a:cubicBezTo>
                  <a:pt x="49" y="3"/>
                  <a:pt x="49" y="3"/>
                  <a:pt x="49" y="3"/>
                </a:cubicBezTo>
                <a:cubicBezTo>
                  <a:pt x="50" y="1"/>
                  <a:pt x="52" y="0"/>
                  <a:pt x="55" y="0"/>
                </a:cubicBezTo>
                <a:cubicBezTo>
                  <a:pt x="57" y="0"/>
                  <a:pt x="59" y="1"/>
                  <a:pt x="61" y="3"/>
                </a:cubicBezTo>
                <a:cubicBezTo>
                  <a:pt x="77" y="19"/>
                  <a:pt x="77" y="19"/>
                  <a:pt x="77" y="19"/>
                </a:cubicBezTo>
                <a:cubicBezTo>
                  <a:pt x="80" y="22"/>
                  <a:pt x="80" y="28"/>
                  <a:pt x="77" y="31"/>
                </a:cubicBezTo>
                <a:cubicBezTo>
                  <a:pt x="32" y="76"/>
                  <a:pt x="32" y="76"/>
                  <a:pt x="32" y="76"/>
                </a:cubicBezTo>
                <a:cubicBezTo>
                  <a:pt x="30" y="77"/>
                  <a:pt x="28" y="78"/>
                  <a:pt x="26" y="78"/>
                </a:cubicBezTo>
                <a:close/>
                <a:moveTo>
                  <a:pt x="55" y="5"/>
                </a:moveTo>
                <a:cubicBezTo>
                  <a:pt x="54" y="5"/>
                  <a:pt x="53" y="6"/>
                  <a:pt x="52" y="7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3"/>
                  <a:pt x="6" y="55"/>
                  <a:pt x="7" y="57"/>
                </a:cubicBezTo>
                <a:cubicBezTo>
                  <a:pt x="23" y="72"/>
                  <a:pt x="23" y="72"/>
                  <a:pt x="23" y="72"/>
                </a:cubicBezTo>
                <a:cubicBezTo>
                  <a:pt x="24" y="74"/>
                  <a:pt x="27" y="74"/>
                  <a:pt x="28" y="72"/>
                </a:cubicBezTo>
                <a:cubicBezTo>
                  <a:pt x="73" y="28"/>
                  <a:pt x="73" y="28"/>
                  <a:pt x="73" y="28"/>
                </a:cubicBezTo>
                <a:cubicBezTo>
                  <a:pt x="75" y="26"/>
                  <a:pt x="75" y="24"/>
                  <a:pt x="73" y="2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6"/>
                  <a:pt x="56" y="5"/>
                  <a:pt x="55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3" name="Freeform 1542">
            <a:extLst>
              <a:ext uri="{FF2B5EF4-FFF2-40B4-BE49-F238E27FC236}">
                <a16:creationId xmlns:a16="http://schemas.microsoft.com/office/drawing/2014/main" id="{ED135977-6C34-BB8B-3292-A6B147ECB085}"/>
              </a:ext>
            </a:extLst>
          </p:cNvPr>
          <p:cNvSpPr>
            <a:spLocks noEditPoints="1"/>
          </p:cNvSpPr>
          <p:nvPr/>
        </p:nvSpPr>
        <p:spPr bwMode="auto">
          <a:xfrm>
            <a:off x="7174618" y="3223463"/>
            <a:ext cx="162451" cy="152800"/>
          </a:xfrm>
          <a:custGeom>
            <a:avLst/>
            <a:gdLst>
              <a:gd name="T0" fmla="*/ 19 w 32"/>
              <a:gd name="T1" fmla="*/ 31 h 31"/>
              <a:gd name="T2" fmla="*/ 14 w 32"/>
              <a:gd name="T3" fmla="*/ 29 h 31"/>
              <a:gd name="T4" fmla="*/ 2 w 32"/>
              <a:gd name="T5" fmla="*/ 17 h 31"/>
              <a:gd name="T6" fmla="*/ 0 w 32"/>
              <a:gd name="T7" fmla="*/ 12 h 31"/>
              <a:gd name="T8" fmla="*/ 2 w 32"/>
              <a:gd name="T9" fmla="*/ 7 h 31"/>
              <a:gd name="T10" fmla="*/ 7 w 32"/>
              <a:gd name="T11" fmla="*/ 3 h 31"/>
              <a:gd name="T12" fmla="*/ 12 w 32"/>
              <a:gd name="T13" fmla="*/ 0 h 31"/>
              <a:gd name="T14" fmla="*/ 17 w 32"/>
              <a:gd name="T15" fmla="*/ 3 h 31"/>
              <a:gd name="T16" fmla="*/ 29 w 32"/>
              <a:gd name="T17" fmla="*/ 14 h 31"/>
              <a:gd name="T18" fmla="*/ 29 w 32"/>
              <a:gd name="T19" fmla="*/ 24 h 31"/>
              <a:gd name="T20" fmla="*/ 24 w 32"/>
              <a:gd name="T21" fmla="*/ 29 h 31"/>
              <a:gd name="T22" fmla="*/ 19 w 32"/>
              <a:gd name="T23" fmla="*/ 31 h 31"/>
              <a:gd name="T24" fmla="*/ 12 w 32"/>
              <a:gd name="T25" fmla="*/ 5 h 31"/>
              <a:gd name="T26" fmla="*/ 11 w 32"/>
              <a:gd name="T27" fmla="*/ 6 h 31"/>
              <a:gd name="T28" fmla="*/ 6 w 32"/>
              <a:gd name="T29" fmla="*/ 11 h 31"/>
              <a:gd name="T30" fmla="*/ 5 w 32"/>
              <a:gd name="T31" fmla="*/ 12 h 31"/>
              <a:gd name="T32" fmla="*/ 6 w 32"/>
              <a:gd name="T33" fmla="*/ 14 h 31"/>
              <a:gd name="T34" fmla="*/ 18 w 32"/>
              <a:gd name="T35" fmla="*/ 26 h 31"/>
              <a:gd name="T36" fmla="*/ 21 w 32"/>
              <a:gd name="T37" fmla="*/ 26 h 31"/>
              <a:gd name="T38" fmla="*/ 24 w 32"/>
              <a:gd name="T39" fmla="*/ 23 h 31"/>
              <a:gd name="T40" fmla="*/ 24 w 32"/>
              <a:gd name="T41" fmla="*/ 23 h 31"/>
              <a:gd name="T42" fmla="*/ 26 w 32"/>
              <a:gd name="T43" fmla="*/ 21 h 31"/>
              <a:gd name="T44" fmla="*/ 26 w 32"/>
              <a:gd name="T45" fmla="*/ 18 h 31"/>
              <a:gd name="T46" fmla="*/ 14 w 32"/>
              <a:gd name="T47" fmla="*/ 6 h 31"/>
              <a:gd name="T48" fmla="*/ 12 w 32"/>
              <a:gd name="T4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31">
                <a:moveTo>
                  <a:pt x="19" y="31"/>
                </a:moveTo>
                <a:cubicBezTo>
                  <a:pt x="17" y="31"/>
                  <a:pt x="16" y="31"/>
                  <a:pt x="14" y="29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6"/>
                  <a:pt x="0" y="14"/>
                  <a:pt x="0" y="12"/>
                </a:cubicBezTo>
                <a:cubicBezTo>
                  <a:pt x="0" y="10"/>
                  <a:pt x="1" y="9"/>
                  <a:pt x="2" y="7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2" y="0"/>
                </a:cubicBezTo>
                <a:cubicBezTo>
                  <a:pt x="14" y="0"/>
                  <a:pt x="16" y="1"/>
                  <a:pt x="17" y="3"/>
                </a:cubicBezTo>
                <a:cubicBezTo>
                  <a:pt x="29" y="14"/>
                  <a:pt x="29" y="14"/>
                  <a:pt x="29" y="14"/>
                </a:cubicBezTo>
                <a:cubicBezTo>
                  <a:pt x="32" y="17"/>
                  <a:pt x="32" y="22"/>
                  <a:pt x="29" y="24"/>
                </a:cubicBezTo>
                <a:cubicBezTo>
                  <a:pt x="24" y="29"/>
                  <a:pt x="24" y="29"/>
                  <a:pt x="24" y="29"/>
                </a:cubicBezTo>
                <a:cubicBezTo>
                  <a:pt x="23" y="31"/>
                  <a:pt x="21" y="31"/>
                  <a:pt x="19" y="31"/>
                </a:cubicBezTo>
                <a:close/>
                <a:moveTo>
                  <a:pt x="12" y="5"/>
                </a:moveTo>
                <a:cubicBezTo>
                  <a:pt x="12" y="5"/>
                  <a:pt x="11" y="6"/>
                  <a:pt x="11" y="6"/>
                </a:cubicBezTo>
                <a:cubicBezTo>
                  <a:pt x="6" y="11"/>
                  <a:pt x="6" y="11"/>
                  <a:pt x="6" y="11"/>
                </a:cubicBezTo>
                <a:cubicBezTo>
                  <a:pt x="5" y="11"/>
                  <a:pt x="5" y="12"/>
                  <a:pt x="5" y="12"/>
                </a:cubicBezTo>
                <a:cubicBezTo>
                  <a:pt x="5" y="13"/>
                  <a:pt x="5" y="13"/>
                  <a:pt x="6" y="14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7"/>
                  <a:pt x="20" y="27"/>
                  <a:pt x="21" y="26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0"/>
                  <a:pt x="27" y="19"/>
                  <a:pt x="26" y="1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5"/>
                  <a:pt x="12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4" name="Freeform 1543">
            <a:extLst>
              <a:ext uri="{FF2B5EF4-FFF2-40B4-BE49-F238E27FC236}">
                <a16:creationId xmlns:a16="http://schemas.microsoft.com/office/drawing/2014/main" id="{70EDC37F-89EE-FB12-E219-A88C2F7AE3DF}"/>
              </a:ext>
            </a:extLst>
          </p:cNvPr>
          <p:cNvSpPr>
            <a:spLocks/>
          </p:cNvSpPr>
          <p:nvPr/>
        </p:nvSpPr>
        <p:spPr bwMode="auto">
          <a:xfrm>
            <a:off x="7616057" y="2876193"/>
            <a:ext cx="70630" cy="69454"/>
          </a:xfrm>
          <a:custGeom>
            <a:avLst/>
            <a:gdLst>
              <a:gd name="T0" fmla="*/ 4 w 14"/>
              <a:gd name="T1" fmla="*/ 14 h 14"/>
              <a:gd name="T2" fmla="*/ 1 w 14"/>
              <a:gd name="T3" fmla="*/ 13 h 14"/>
              <a:gd name="T4" fmla="*/ 1 w 14"/>
              <a:gd name="T5" fmla="*/ 13 h 14"/>
              <a:gd name="T6" fmla="*/ 1 w 14"/>
              <a:gd name="T7" fmla="*/ 8 h 14"/>
              <a:gd name="T8" fmla="*/ 8 w 14"/>
              <a:gd name="T9" fmla="*/ 1 h 14"/>
              <a:gd name="T10" fmla="*/ 13 w 14"/>
              <a:gd name="T11" fmla="*/ 1 h 14"/>
              <a:gd name="T12" fmla="*/ 14 w 14"/>
              <a:gd name="T13" fmla="*/ 3 h 14"/>
              <a:gd name="T14" fmla="*/ 13 w 14"/>
              <a:gd name="T15" fmla="*/ 6 h 14"/>
              <a:gd name="T16" fmla="*/ 6 w 14"/>
              <a:gd name="T17" fmla="*/ 13 h 14"/>
              <a:gd name="T18" fmla="*/ 4 w 14"/>
              <a:gd name="T19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4">
                <a:moveTo>
                  <a:pt x="4" y="14"/>
                </a:moveTo>
                <a:cubicBezTo>
                  <a:pt x="3" y="14"/>
                  <a:pt x="2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1"/>
                  <a:pt x="0" y="9"/>
                  <a:pt x="1" y="8"/>
                </a:cubicBezTo>
                <a:cubicBezTo>
                  <a:pt x="8" y="1"/>
                  <a:pt x="8" y="1"/>
                  <a:pt x="8" y="1"/>
                </a:cubicBezTo>
                <a:cubicBezTo>
                  <a:pt x="9" y="0"/>
                  <a:pt x="11" y="0"/>
                  <a:pt x="13" y="1"/>
                </a:cubicBezTo>
                <a:cubicBezTo>
                  <a:pt x="13" y="2"/>
                  <a:pt x="14" y="3"/>
                  <a:pt x="14" y="3"/>
                </a:cubicBezTo>
                <a:cubicBezTo>
                  <a:pt x="14" y="4"/>
                  <a:pt x="13" y="5"/>
                  <a:pt x="13" y="6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4"/>
                  <a:pt x="4" y="14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5" name="Freeform 380">
            <a:extLst>
              <a:ext uri="{FF2B5EF4-FFF2-40B4-BE49-F238E27FC236}">
                <a16:creationId xmlns:a16="http://schemas.microsoft.com/office/drawing/2014/main" id="{C2E77735-D8C9-B483-FB2E-A6A2E34FE686}"/>
              </a:ext>
            </a:extLst>
          </p:cNvPr>
          <p:cNvSpPr>
            <a:spLocks noEditPoints="1"/>
          </p:cNvSpPr>
          <p:nvPr/>
        </p:nvSpPr>
        <p:spPr bwMode="auto">
          <a:xfrm>
            <a:off x="9326827" y="2766311"/>
            <a:ext cx="677272" cy="685957"/>
          </a:xfrm>
          <a:custGeom>
            <a:avLst/>
            <a:gdLst>
              <a:gd name="T0" fmla="*/ 142 w 285"/>
              <a:gd name="T1" fmla="*/ 285 h 285"/>
              <a:gd name="T2" fmla="*/ 0 w 285"/>
              <a:gd name="T3" fmla="*/ 143 h 285"/>
              <a:gd name="T4" fmla="*/ 142 w 285"/>
              <a:gd name="T5" fmla="*/ 0 h 285"/>
              <a:gd name="T6" fmla="*/ 285 w 285"/>
              <a:gd name="T7" fmla="*/ 143 h 285"/>
              <a:gd name="T8" fmla="*/ 142 w 285"/>
              <a:gd name="T9" fmla="*/ 285 h 285"/>
              <a:gd name="T10" fmla="*/ 142 w 285"/>
              <a:gd name="T11" fmla="*/ 12 h 285"/>
              <a:gd name="T12" fmla="*/ 12 w 285"/>
              <a:gd name="T13" fmla="*/ 143 h 285"/>
              <a:gd name="T14" fmla="*/ 142 w 285"/>
              <a:gd name="T15" fmla="*/ 273 h 285"/>
              <a:gd name="T16" fmla="*/ 273 w 285"/>
              <a:gd name="T17" fmla="*/ 143 h 285"/>
              <a:gd name="T18" fmla="*/ 142 w 285"/>
              <a:gd name="T19" fmla="*/ 1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285">
                <a:moveTo>
                  <a:pt x="142" y="285"/>
                </a:moveTo>
                <a:cubicBezTo>
                  <a:pt x="64" y="285"/>
                  <a:pt x="0" y="221"/>
                  <a:pt x="0" y="143"/>
                </a:cubicBezTo>
                <a:cubicBezTo>
                  <a:pt x="0" y="64"/>
                  <a:pt x="64" y="0"/>
                  <a:pt x="142" y="0"/>
                </a:cubicBezTo>
                <a:cubicBezTo>
                  <a:pt x="221" y="0"/>
                  <a:pt x="285" y="64"/>
                  <a:pt x="285" y="143"/>
                </a:cubicBezTo>
                <a:cubicBezTo>
                  <a:pt x="285" y="221"/>
                  <a:pt x="221" y="285"/>
                  <a:pt x="142" y="285"/>
                </a:cubicBezTo>
                <a:close/>
                <a:moveTo>
                  <a:pt x="142" y="12"/>
                </a:moveTo>
                <a:cubicBezTo>
                  <a:pt x="70" y="12"/>
                  <a:pt x="12" y="71"/>
                  <a:pt x="12" y="143"/>
                </a:cubicBezTo>
                <a:cubicBezTo>
                  <a:pt x="12" y="214"/>
                  <a:pt x="70" y="273"/>
                  <a:pt x="142" y="273"/>
                </a:cubicBezTo>
                <a:cubicBezTo>
                  <a:pt x="214" y="273"/>
                  <a:pt x="273" y="214"/>
                  <a:pt x="273" y="143"/>
                </a:cubicBezTo>
                <a:cubicBezTo>
                  <a:pt x="273" y="71"/>
                  <a:pt x="214" y="12"/>
                  <a:pt x="142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6" name="Freeform 381">
            <a:extLst>
              <a:ext uri="{FF2B5EF4-FFF2-40B4-BE49-F238E27FC236}">
                <a16:creationId xmlns:a16="http://schemas.microsoft.com/office/drawing/2014/main" id="{6F938333-07BA-C538-D0CD-BC61399058A5}"/>
              </a:ext>
            </a:extLst>
          </p:cNvPr>
          <p:cNvSpPr>
            <a:spLocks noEditPoints="1"/>
          </p:cNvSpPr>
          <p:nvPr/>
        </p:nvSpPr>
        <p:spPr bwMode="auto">
          <a:xfrm>
            <a:off x="9847798" y="3287288"/>
            <a:ext cx="347320" cy="356005"/>
          </a:xfrm>
          <a:custGeom>
            <a:avLst/>
            <a:gdLst>
              <a:gd name="T0" fmla="*/ 119 w 145"/>
              <a:gd name="T1" fmla="*/ 146 h 146"/>
              <a:gd name="T2" fmla="*/ 100 w 145"/>
              <a:gd name="T3" fmla="*/ 138 h 146"/>
              <a:gd name="T4" fmla="*/ 2 w 145"/>
              <a:gd name="T5" fmla="*/ 40 h 146"/>
              <a:gd name="T6" fmla="*/ 2 w 145"/>
              <a:gd name="T7" fmla="*/ 32 h 146"/>
              <a:gd name="T8" fmla="*/ 31 w 145"/>
              <a:gd name="T9" fmla="*/ 3 h 146"/>
              <a:gd name="T10" fmla="*/ 40 w 145"/>
              <a:gd name="T11" fmla="*/ 3 h 146"/>
              <a:gd name="T12" fmla="*/ 138 w 145"/>
              <a:gd name="T13" fmla="*/ 100 h 146"/>
              <a:gd name="T14" fmla="*/ 145 w 145"/>
              <a:gd name="T15" fmla="*/ 119 h 146"/>
              <a:gd name="T16" fmla="*/ 138 w 145"/>
              <a:gd name="T17" fmla="*/ 138 h 146"/>
              <a:gd name="T18" fmla="*/ 119 w 145"/>
              <a:gd name="T19" fmla="*/ 146 h 146"/>
              <a:gd name="T20" fmla="*/ 15 w 145"/>
              <a:gd name="T21" fmla="*/ 36 h 146"/>
              <a:gd name="T22" fmla="*/ 109 w 145"/>
              <a:gd name="T23" fmla="*/ 129 h 146"/>
              <a:gd name="T24" fmla="*/ 109 w 145"/>
              <a:gd name="T25" fmla="*/ 129 h 146"/>
              <a:gd name="T26" fmla="*/ 129 w 145"/>
              <a:gd name="T27" fmla="*/ 129 h 146"/>
              <a:gd name="T28" fmla="*/ 133 w 145"/>
              <a:gd name="T29" fmla="*/ 119 h 146"/>
              <a:gd name="T30" fmla="*/ 129 w 145"/>
              <a:gd name="T31" fmla="*/ 109 h 146"/>
              <a:gd name="T32" fmla="*/ 36 w 145"/>
              <a:gd name="T33" fmla="*/ 16 h 146"/>
              <a:gd name="T34" fmla="*/ 15 w 145"/>
              <a:gd name="T3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5" h="146">
                <a:moveTo>
                  <a:pt x="119" y="146"/>
                </a:moveTo>
                <a:cubicBezTo>
                  <a:pt x="112" y="146"/>
                  <a:pt x="105" y="143"/>
                  <a:pt x="100" y="138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38"/>
                  <a:pt x="0" y="34"/>
                  <a:pt x="2" y="32"/>
                </a:cubicBezTo>
                <a:cubicBezTo>
                  <a:pt x="31" y="3"/>
                  <a:pt x="31" y="3"/>
                  <a:pt x="31" y="3"/>
                </a:cubicBezTo>
                <a:cubicBezTo>
                  <a:pt x="34" y="0"/>
                  <a:pt x="38" y="0"/>
                  <a:pt x="40" y="3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3" y="105"/>
                  <a:pt x="145" y="112"/>
                  <a:pt x="145" y="119"/>
                </a:cubicBezTo>
                <a:cubicBezTo>
                  <a:pt x="145" y="126"/>
                  <a:pt x="143" y="133"/>
                  <a:pt x="138" y="138"/>
                </a:cubicBezTo>
                <a:cubicBezTo>
                  <a:pt x="132" y="143"/>
                  <a:pt x="126" y="146"/>
                  <a:pt x="119" y="146"/>
                </a:cubicBezTo>
                <a:close/>
                <a:moveTo>
                  <a:pt x="15" y="36"/>
                </a:moveTo>
                <a:cubicBezTo>
                  <a:pt x="109" y="129"/>
                  <a:pt x="109" y="129"/>
                  <a:pt x="109" y="129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4" y="135"/>
                  <a:pt x="123" y="135"/>
                  <a:pt x="129" y="129"/>
                </a:cubicBezTo>
                <a:cubicBezTo>
                  <a:pt x="132" y="126"/>
                  <a:pt x="133" y="123"/>
                  <a:pt x="133" y="119"/>
                </a:cubicBezTo>
                <a:cubicBezTo>
                  <a:pt x="133" y="115"/>
                  <a:pt x="132" y="112"/>
                  <a:pt x="129" y="109"/>
                </a:cubicBezTo>
                <a:cubicBezTo>
                  <a:pt x="36" y="16"/>
                  <a:pt x="36" y="16"/>
                  <a:pt x="36" y="16"/>
                </a:cubicBezTo>
                <a:lnTo>
                  <a:pt x="15" y="3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7" name="Freeform 382">
            <a:extLst>
              <a:ext uri="{FF2B5EF4-FFF2-40B4-BE49-F238E27FC236}">
                <a16:creationId xmlns:a16="http://schemas.microsoft.com/office/drawing/2014/main" id="{DD646737-57EF-B544-35B5-9665FBEF2DD4}"/>
              </a:ext>
            </a:extLst>
          </p:cNvPr>
          <p:cNvSpPr>
            <a:spLocks/>
          </p:cNvSpPr>
          <p:nvPr/>
        </p:nvSpPr>
        <p:spPr bwMode="auto">
          <a:xfrm>
            <a:off x="9439698" y="2879185"/>
            <a:ext cx="243122" cy="243122"/>
          </a:xfrm>
          <a:custGeom>
            <a:avLst/>
            <a:gdLst>
              <a:gd name="T0" fmla="*/ 6 w 99"/>
              <a:gd name="T1" fmla="*/ 100 h 100"/>
              <a:gd name="T2" fmla="*/ 0 w 99"/>
              <a:gd name="T3" fmla="*/ 94 h 100"/>
              <a:gd name="T4" fmla="*/ 93 w 99"/>
              <a:gd name="T5" fmla="*/ 0 h 100"/>
              <a:gd name="T6" fmla="*/ 99 w 99"/>
              <a:gd name="T7" fmla="*/ 6 h 100"/>
              <a:gd name="T8" fmla="*/ 93 w 99"/>
              <a:gd name="T9" fmla="*/ 12 h 100"/>
              <a:gd name="T10" fmla="*/ 12 w 99"/>
              <a:gd name="T11" fmla="*/ 94 h 100"/>
              <a:gd name="T12" fmla="*/ 6 w 99"/>
              <a:gd name="T13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0">
                <a:moveTo>
                  <a:pt x="6" y="100"/>
                </a:moveTo>
                <a:cubicBezTo>
                  <a:pt x="3" y="100"/>
                  <a:pt x="0" y="97"/>
                  <a:pt x="0" y="94"/>
                </a:cubicBezTo>
                <a:cubicBezTo>
                  <a:pt x="0" y="42"/>
                  <a:pt x="42" y="0"/>
                  <a:pt x="93" y="0"/>
                </a:cubicBezTo>
                <a:cubicBezTo>
                  <a:pt x="97" y="0"/>
                  <a:pt x="99" y="3"/>
                  <a:pt x="99" y="6"/>
                </a:cubicBezTo>
                <a:cubicBezTo>
                  <a:pt x="99" y="10"/>
                  <a:pt x="97" y="12"/>
                  <a:pt x="93" y="12"/>
                </a:cubicBezTo>
                <a:cubicBezTo>
                  <a:pt x="48" y="12"/>
                  <a:pt x="12" y="49"/>
                  <a:pt x="12" y="94"/>
                </a:cubicBezTo>
                <a:cubicBezTo>
                  <a:pt x="12" y="97"/>
                  <a:pt x="9" y="100"/>
                  <a:pt x="6" y="10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8" name="Freeform 44">
            <a:extLst>
              <a:ext uri="{FF2B5EF4-FFF2-40B4-BE49-F238E27FC236}">
                <a16:creationId xmlns:a16="http://schemas.microsoft.com/office/drawing/2014/main" id="{C0148219-A1D4-1A70-E5BB-E34B27DD1BBF}"/>
              </a:ext>
            </a:extLst>
          </p:cNvPr>
          <p:cNvSpPr>
            <a:spLocks noEditPoints="1"/>
          </p:cNvSpPr>
          <p:nvPr/>
        </p:nvSpPr>
        <p:spPr bwMode="auto">
          <a:xfrm>
            <a:off x="4668607" y="2968624"/>
            <a:ext cx="461480" cy="461485"/>
          </a:xfrm>
          <a:custGeom>
            <a:avLst/>
            <a:gdLst>
              <a:gd name="T0" fmla="*/ 114 w 228"/>
              <a:gd name="T1" fmla="*/ 228 h 228"/>
              <a:gd name="T2" fmla="*/ 0 w 228"/>
              <a:gd name="T3" fmla="*/ 114 h 228"/>
              <a:gd name="T4" fmla="*/ 114 w 228"/>
              <a:gd name="T5" fmla="*/ 0 h 228"/>
              <a:gd name="T6" fmla="*/ 228 w 228"/>
              <a:gd name="T7" fmla="*/ 114 h 228"/>
              <a:gd name="T8" fmla="*/ 114 w 228"/>
              <a:gd name="T9" fmla="*/ 228 h 228"/>
              <a:gd name="T10" fmla="*/ 114 w 228"/>
              <a:gd name="T11" fmla="*/ 12 h 228"/>
              <a:gd name="T12" fmla="*/ 12 w 228"/>
              <a:gd name="T13" fmla="*/ 114 h 228"/>
              <a:gd name="T14" fmla="*/ 114 w 228"/>
              <a:gd name="T15" fmla="*/ 216 h 228"/>
              <a:gd name="T16" fmla="*/ 216 w 228"/>
              <a:gd name="T17" fmla="*/ 114 h 228"/>
              <a:gd name="T18" fmla="*/ 114 w 228"/>
              <a:gd name="T19" fmla="*/ 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28">
                <a:moveTo>
                  <a:pt x="114" y="228"/>
                </a:moveTo>
                <a:cubicBezTo>
                  <a:pt x="51" y="228"/>
                  <a:pt x="0" y="177"/>
                  <a:pt x="0" y="114"/>
                </a:cubicBezTo>
                <a:cubicBezTo>
                  <a:pt x="0" y="51"/>
                  <a:pt x="51" y="0"/>
                  <a:pt x="114" y="0"/>
                </a:cubicBezTo>
                <a:cubicBezTo>
                  <a:pt x="177" y="0"/>
                  <a:pt x="228" y="51"/>
                  <a:pt x="228" y="114"/>
                </a:cubicBezTo>
                <a:cubicBezTo>
                  <a:pt x="228" y="177"/>
                  <a:pt x="177" y="228"/>
                  <a:pt x="114" y="228"/>
                </a:cubicBezTo>
                <a:close/>
                <a:moveTo>
                  <a:pt x="114" y="12"/>
                </a:moveTo>
                <a:cubicBezTo>
                  <a:pt x="58" y="12"/>
                  <a:pt x="12" y="58"/>
                  <a:pt x="12" y="114"/>
                </a:cubicBezTo>
                <a:cubicBezTo>
                  <a:pt x="12" y="170"/>
                  <a:pt x="58" y="216"/>
                  <a:pt x="114" y="216"/>
                </a:cubicBezTo>
                <a:cubicBezTo>
                  <a:pt x="170" y="216"/>
                  <a:pt x="216" y="170"/>
                  <a:pt x="216" y="114"/>
                </a:cubicBezTo>
                <a:cubicBezTo>
                  <a:pt x="216" y="58"/>
                  <a:pt x="170" y="12"/>
                  <a:pt x="114" y="1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19" name="Freeform 45">
            <a:extLst>
              <a:ext uri="{FF2B5EF4-FFF2-40B4-BE49-F238E27FC236}">
                <a16:creationId xmlns:a16="http://schemas.microsoft.com/office/drawing/2014/main" id="{C7CAFA5C-815A-779C-4854-3D8AEBBA30DD}"/>
              </a:ext>
            </a:extLst>
          </p:cNvPr>
          <p:cNvSpPr>
            <a:spLocks noEditPoints="1"/>
          </p:cNvSpPr>
          <p:nvPr/>
        </p:nvSpPr>
        <p:spPr bwMode="auto">
          <a:xfrm>
            <a:off x="4463503" y="2763522"/>
            <a:ext cx="879008" cy="871691"/>
          </a:xfrm>
          <a:custGeom>
            <a:avLst/>
            <a:gdLst>
              <a:gd name="T0" fmla="*/ 204 w 432"/>
              <a:gd name="T1" fmla="*/ 432 h 432"/>
              <a:gd name="T2" fmla="*/ 172 w 432"/>
              <a:gd name="T3" fmla="*/ 379 h 432"/>
              <a:gd name="T4" fmla="*/ 116 w 432"/>
              <a:gd name="T5" fmla="*/ 378 h 432"/>
              <a:gd name="T6" fmla="*/ 54 w 432"/>
              <a:gd name="T7" fmla="*/ 360 h 432"/>
              <a:gd name="T8" fmla="*/ 54 w 432"/>
              <a:gd name="T9" fmla="*/ 316 h 432"/>
              <a:gd name="T10" fmla="*/ 53 w 432"/>
              <a:gd name="T11" fmla="*/ 260 h 432"/>
              <a:gd name="T12" fmla="*/ 0 w 432"/>
              <a:gd name="T13" fmla="*/ 228 h 432"/>
              <a:gd name="T14" fmla="*/ 31 w 432"/>
              <a:gd name="T15" fmla="*/ 172 h 432"/>
              <a:gd name="T16" fmla="*/ 70 w 432"/>
              <a:gd name="T17" fmla="*/ 132 h 432"/>
              <a:gd name="T18" fmla="*/ 45 w 432"/>
              <a:gd name="T19" fmla="*/ 94 h 432"/>
              <a:gd name="T20" fmla="*/ 72 w 432"/>
              <a:gd name="T21" fmla="*/ 54 h 432"/>
              <a:gd name="T22" fmla="*/ 132 w 432"/>
              <a:gd name="T23" fmla="*/ 70 h 432"/>
              <a:gd name="T24" fmla="*/ 172 w 432"/>
              <a:gd name="T25" fmla="*/ 31 h 432"/>
              <a:gd name="T26" fmla="*/ 229 w 432"/>
              <a:gd name="T27" fmla="*/ 0 h 432"/>
              <a:gd name="T28" fmla="*/ 260 w 432"/>
              <a:gd name="T29" fmla="*/ 53 h 432"/>
              <a:gd name="T30" fmla="*/ 316 w 432"/>
              <a:gd name="T31" fmla="*/ 54 h 432"/>
              <a:gd name="T32" fmla="*/ 378 w 432"/>
              <a:gd name="T33" fmla="*/ 72 h 432"/>
              <a:gd name="T34" fmla="*/ 378 w 432"/>
              <a:gd name="T35" fmla="*/ 116 h 432"/>
              <a:gd name="T36" fmla="*/ 379 w 432"/>
              <a:gd name="T37" fmla="*/ 172 h 432"/>
              <a:gd name="T38" fmla="*/ 432 w 432"/>
              <a:gd name="T39" fmla="*/ 203 h 432"/>
              <a:gd name="T40" fmla="*/ 401 w 432"/>
              <a:gd name="T41" fmla="*/ 260 h 432"/>
              <a:gd name="T42" fmla="*/ 362 w 432"/>
              <a:gd name="T43" fmla="*/ 300 h 432"/>
              <a:gd name="T44" fmla="*/ 387 w 432"/>
              <a:gd name="T45" fmla="*/ 338 h 432"/>
              <a:gd name="T46" fmla="*/ 360 w 432"/>
              <a:gd name="T47" fmla="*/ 378 h 432"/>
              <a:gd name="T48" fmla="*/ 300 w 432"/>
              <a:gd name="T49" fmla="*/ 362 h 432"/>
              <a:gd name="T50" fmla="*/ 260 w 432"/>
              <a:gd name="T51" fmla="*/ 401 h 432"/>
              <a:gd name="T52" fmla="*/ 131 w 432"/>
              <a:gd name="T53" fmla="*/ 348 h 432"/>
              <a:gd name="T54" fmla="*/ 180 w 432"/>
              <a:gd name="T55" fmla="*/ 368 h 432"/>
              <a:gd name="T56" fmla="*/ 185 w 432"/>
              <a:gd name="T57" fmla="*/ 401 h 432"/>
              <a:gd name="T58" fmla="*/ 229 w 432"/>
              <a:gd name="T59" fmla="*/ 420 h 432"/>
              <a:gd name="T60" fmla="*/ 248 w 432"/>
              <a:gd name="T61" fmla="*/ 374 h 432"/>
              <a:gd name="T62" fmla="*/ 298 w 432"/>
              <a:gd name="T63" fmla="*/ 349 h 432"/>
              <a:gd name="T64" fmla="*/ 325 w 432"/>
              <a:gd name="T65" fmla="*/ 369 h 432"/>
              <a:gd name="T66" fmla="*/ 369 w 432"/>
              <a:gd name="T67" fmla="*/ 351 h 432"/>
              <a:gd name="T68" fmla="*/ 351 w 432"/>
              <a:gd name="T69" fmla="*/ 306 h 432"/>
              <a:gd name="T70" fmla="*/ 349 w 432"/>
              <a:gd name="T71" fmla="*/ 298 h 432"/>
              <a:gd name="T72" fmla="*/ 374 w 432"/>
              <a:gd name="T73" fmla="*/ 247 h 432"/>
              <a:gd name="T74" fmla="*/ 420 w 432"/>
              <a:gd name="T75" fmla="*/ 228 h 432"/>
              <a:gd name="T76" fmla="*/ 401 w 432"/>
              <a:gd name="T77" fmla="*/ 184 h 432"/>
              <a:gd name="T78" fmla="*/ 368 w 432"/>
              <a:gd name="T79" fmla="*/ 180 h 432"/>
              <a:gd name="T80" fmla="*/ 350 w 432"/>
              <a:gd name="T81" fmla="*/ 126 h 432"/>
              <a:gd name="T82" fmla="*/ 369 w 432"/>
              <a:gd name="T83" fmla="*/ 80 h 432"/>
              <a:gd name="T84" fmla="*/ 325 w 432"/>
              <a:gd name="T85" fmla="*/ 63 h 432"/>
              <a:gd name="T86" fmla="*/ 298 w 432"/>
              <a:gd name="T87" fmla="*/ 83 h 432"/>
              <a:gd name="T88" fmla="*/ 248 w 432"/>
              <a:gd name="T89" fmla="*/ 58 h 432"/>
              <a:gd name="T90" fmla="*/ 229 w 432"/>
              <a:gd name="T91" fmla="*/ 12 h 432"/>
              <a:gd name="T92" fmla="*/ 185 w 432"/>
              <a:gd name="T93" fmla="*/ 31 h 432"/>
              <a:gd name="T94" fmla="*/ 180 w 432"/>
              <a:gd name="T95" fmla="*/ 64 h 432"/>
              <a:gd name="T96" fmla="*/ 127 w 432"/>
              <a:gd name="T97" fmla="*/ 82 h 432"/>
              <a:gd name="T98" fmla="*/ 81 w 432"/>
              <a:gd name="T99" fmla="*/ 63 h 432"/>
              <a:gd name="T100" fmla="*/ 57 w 432"/>
              <a:gd name="T101" fmla="*/ 94 h 432"/>
              <a:gd name="T102" fmla="*/ 82 w 432"/>
              <a:gd name="T103" fmla="*/ 126 h 432"/>
              <a:gd name="T104" fmla="*/ 64 w 432"/>
              <a:gd name="T105" fmla="*/ 180 h 432"/>
              <a:gd name="T106" fmla="*/ 31 w 432"/>
              <a:gd name="T107" fmla="*/ 184 h 432"/>
              <a:gd name="T108" fmla="*/ 12 w 432"/>
              <a:gd name="T109" fmla="*/ 228 h 432"/>
              <a:gd name="T110" fmla="*/ 58 w 432"/>
              <a:gd name="T111" fmla="*/ 247 h 432"/>
              <a:gd name="T112" fmla="*/ 83 w 432"/>
              <a:gd name="T113" fmla="*/ 298 h 432"/>
              <a:gd name="T114" fmla="*/ 82 w 432"/>
              <a:gd name="T115" fmla="*/ 306 h 432"/>
              <a:gd name="T116" fmla="*/ 57 w 432"/>
              <a:gd name="T117" fmla="*/ 338 h 432"/>
              <a:gd name="T118" fmla="*/ 81 w 432"/>
              <a:gd name="T119" fmla="*/ 369 h 432"/>
              <a:gd name="T120" fmla="*/ 126 w 432"/>
              <a:gd name="T121" fmla="*/ 35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2" h="432">
                <a:moveTo>
                  <a:pt x="229" y="432"/>
                </a:moveTo>
                <a:cubicBezTo>
                  <a:pt x="204" y="432"/>
                  <a:pt x="204" y="432"/>
                  <a:pt x="204" y="432"/>
                </a:cubicBezTo>
                <a:cubicBezTo>
                  <a:pt x="186" y="432"/>
                  <a:pt x="172" y="418"/>
                  <a:pt x="172" y="401"/>
                </a:cubicBezTo>
                <a:cubicBezTo>
                  <a:pt x="172" y="379"/>
                  <a:pt x="172" y="379"/>
                  <a:pt x="172" y="379"/>
                </a:cubicBezTo>
                <a:cubicBezTo>
                  <a:pt x="158" y="375"/>
                  <a:pt x="145" y="369"/>
                  <a:pt x="132" y="362"/>
                </a:cubicBezTo>
                <a:cubicBezTo>
                  <a:pt x="116" y="378"/>
                  <a:pt x="116" y="378"/>
                  <a:pt x="116" y="378"/>
                </a:cubicBezTo>
                <a:cubicBezTo>
                  <a:pt x="104" y="390"/>
                  <a:pt x="84" y="390"/>
                  <a:pt x="72" y="378"/>
                </a:cubicBezTo>
                <a:cubicBezTo>
                  <a:pt x="54" y="360"/>
                  <a:pt x="54" y="360"/>
                  <a:pt x="54" y="360"/>
                </a:cubicBezTo>
                <a:cubicBezTo>
                  <a:pt x="48" y="354"/>
                  <a:pt x="45" y="346"/>
                  <a:pt x="45" y="338"/>
                </a:cubicBezTo>
                <a:cubicBezTo>
                  <a:pt x="45" y="329"/>
                  <a:pt x="48" y="322"/>
                  <a:pt x="54" y="316"/>
                </a:cubicBezTo>
                <a:cubicBezTo>
                  <a:pt x="70" y="300"/>
                  <a:pt x="70" y="300"/>
                  <a:pt x="70" y="300"/>
                </a:cubicBezTo>
                <a:cubicBezTo>
                  <a:pt x="63" y="287"/>
                  <a:pt x="57" y="274"/>
                  <a:pt x="53" y="260"/>
                </a:cubicBezTo>
                <a:cubicBezTo>
                  <a:pt x="31" y="260"/>
                  <a:pt x="31" y="260"/>
                  <a:pt x="31" y="260"/>
                </a:cubicBezTo>
                <a:cubicBezTo>
                  <a:pt x="14" y="260"/>
                  <a:pt x="0" y="246"/>
                  <a:pt x="0" y="228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186"/>
                  <a:pt x="14" y="172"/>
                  <a:pt x="31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7" y="158"/>
                  <a:pt x="63" y="144"/>
                  <a:pt x="70" y="132"/>
                </a:cubicBezTo>
                <a:cubicBezTo>
                  <a:pt x="54" y="116"/>
                  <a:pt x="54" y="116"/>
                  <a:pt x="54" y="116"/>
                </a:cubicBezTo>
                <a:cubicBezTo>
                  <a:pt x="48" y="110"/>
                  <a:pt x="45" y="102"/>
                  <a:pt x="45" y="94"/>
                </a:cubicBezTo>
                <a:cubicBezTo>
                  <a:pt x="45" y="85"/>
                  <a:pt x="48" y="78"/>
                  <a:pt x="54" y="72"/>
                </a:cubicBezTo>
                <a:cubicBezTo>
                  <a:pt x="72" y="54"/>
                  <a:pt x="72" y="54"/>
                  <a:pt x="72" y="54"/>
                </a:cubicBezTo>
                <a:cubicBezTo>
                  <a:pt x="84" y="42"/>
                  <a:pt x="104" y="42"/>
                  <a:pt x="116" y="54"/>
                </a:cubicBezTo>
                <a:cubicBezTo>
                  <a:pt x="132" y="70"/>
                  <a:pt x="132" y="70"/>
                  <a:pt x="132" y="70"/>
                </a:cubicBezTo>
                <a:cubicBezTo>
                  <a:pt x="145" y="62"/>
                  <a:pt x="158" y="57"/>
                  <a:pt x="172" y="53"/>
                </a:cubicBezTo>
                <a:cubicBezTo>
                  <a:pt x="172" y="31"/>
                  <a:pt x="172" y="31"/>
                  <a:pt x="172" y="31"/>
                </a:cubicBezTo>
                <a:cubicBezTo>
                  <a:pt x="172" y="14"/>
                  <a:pt x="186" y="0"/>
                  <a:pt x="204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46" y="0"/>
                  <a:pt x="260" y="14"/>
                  <a:pt x="260" y="31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74" y="57"/>
                  <a:pt x="288" y="62"/>
                  <a:pt x="300" y="70"/>
                </a:cubicBezTo>
                <a:cubicBezTo>
                  <a:pt x="316" y="54"/>
                  <a:pt x="316" y="54"/>
                  <a:pt x="316" y="54"/>
                </a:cubicBezTo>
                <a:cubicBezTo>
                  <a:pt x="328" y="42"/>
                  <a:pt x="348" y="42"/>
                  <a:pt x="360" y="54"/>
                </a:cubicBezTo>
                <a:cubicBezTo>
                  <a:pt x="378" y="72"/>
                  <a:pt x="378" y="72"/>
                  <a:pt x="378" y="72"/>
                </a:cubicBezTo>
                <a:cubicBezTo>
                  <a:pt x="384" y="78"/>
                  <a:pt x="387" y="85"/>
                  <a:pt x="387" y="94"/>
                </a:cubicBezTo>
                <a:cubicBezTo>
                  <a:pt x="387" y="102"/>
                  <a:pt x="384" y="110"/>
                  <a:pt x="378" y="116"/>
                </a:cubicBezTo>
                <a:cubicBezTo>
                  <a:pt x="362" y="132"/>
                  <a:pt x="362" y="132"/>
                  <a:pt x="362" y="132"/>
                </a:cubicBezTo>
                <a:cubicBezTo>
                  <a:pt x="370" y="144"/>
                  <a:pt x="375" y="158"/>
                  <a:pt x="379" y="172"/>
                </a:cubicBezTo>
                <a:cubicBezTo>
                  <a:pt x="401" y="172"/>
                  <a:pt x="401" y="172"/>
                  <a:pt x="401" y="172"/>
                </a:cubicBezTo>
                <a:cubicBezTo>
                  <a:pt x="418" y="172"/>
                  <a:pt x="432" y="186"/>
                  <a:pt x="432" y="203"/>
                </a:cubicBezTo>
                <a:cubicBezTo>
                  <a:pt x="432" y="228"/>
                  <a:pt x="432" y="228"/>
                  <a:pt x="432" y="228"/>
                </a:cubicBezTo>
                <a:cubicBezTo>
                  <a:pt x="432" y="246"/>
                  <a:pt x="418" y="260"/>
                  <a:pt x="401" y="260"/>
                </a:cubicBezTo>
                <a:cubicBezTo>
                  <a:pt x="379" y="260"/>
                  <a:pt x="379" y="260"/>
                  <a:pt x="379" y="260"/>
                </a:cubicBezTo>
                <a:cubicBezTo>
                  <a:pt x="375" y="274"/>
                  <a:pt x="370" y="287"/>
                  <a:pt x="362" y="300"/>
                </a:cubicBezTo>
                <a:cubicBezTo>
                  <a:pt x="378" y="316"/>
                  <a:pt x="378" y="316"/>
                  <a:pt x="378" y="316"/>
                </a:cubicBezTo>
                <a:cubicBezTo>
                  <a:pt x="384" y="322"/>
                  <a:pt x="387" y="329"/>
                  <a:pt x="387" y="338"/>
                </a:cubicBezTo>
                <a:cubicBezTo>
                  <a:pt x="387" y="346"/>
                  <a:pt x="384" y="354"/>
                  <a:pt x="378" y="360"/>
                </a:cubicBezTo>
                <a:cubicBezTo>
                  <a:pt x="360" y="378"/>
                  <a:pt x="360" y="378"/>
                  <a:pt x="360" y="378"/>
                </a:cubicBezTo>
                <a:cubicBezTo>
                  <a:pt x="348" y="390"/>
                  <a:pt x="328" y="390"/>
                  <a:pt x="316" y="378"/>
                </a:cubicBezTo>
                <a:cubicBezTo>
                  <a:pt x="300" y="362"/>
                  <a:pt x="300" y="362"/>
                  <a:pt x="300" y="362"/>
                </a:cubicBezTo>
                <a:cubicBezTo>
                  <a:pt x="288" y="369"/>
                  <a:pt x="274" y="375"/>
                  <a:pt x="260" y="379"/>
                </a:cubicBezTo>
                <a:cubicBezTo>
                  <a:pt x="260" y="401"/>
                  <a:pt x="260" y="401"/>
                  <a:pt x="260" y="401"/>
                </a:cubicBezTo>
                <a:cubicBezTo>
                  <a:pt x="260" y="418"/>
                  <a:pt x="246" y="432"/>
                  <a:pt x="229" y="432"/>
                </a:cubicBezTo>
                <a:close/>
                <a:moveTo>
                  <a:pt x="131" y="348"/>
                </a:moveTo>
                <a:cubicBezTo>
                  <a:pt x="132" y="348"/>
                  <a:pt x="133" y="349"/>
                  <a:pt x="134" y="349"/>
                </a:cubicBezTo>
                <a:cubicBezTo>
                  <a:pt x="148" y="358"/>
                  <a:pt x="164" y="364"/>
                  <a:pt x="180" y="368"/>
                </a:cubicBezTo>
                <a:cubicBezTo>
                  <a:pt x="183" y="369"/>
                  <a:pt x="185" y="371"/>
                  <a:pt x="185" y="374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185" y="411"/>
                  <a:pt x="193" y="420"/>
                  <a:pt x="204" y="420"/>
                </a:cubicBezTo>
                <a:cubicBezTo>
                  <a:pt x="229" y="420"/>
                  <a:pt x="229" y="420"/>
                  <a:pt x="229" y="420"/>
                </a:cubicBezTo>
                <a:cubicBezTo>
                  <a:pt x="239" y="420"/>
                  <a:pt x="248" y="411"/>
                  <a:pt x="248" y="401"/>
                </a:cubicBezTo>
                <a:cubicBezTo>
                  <a:pt x="248" y="374"/>
                  <a:pt x="248" y="374"/>
                  <a:pt x="248" y="374"/>
                </a:cubicBezTo>
                <a:cubicBezTo>
                  <a:pt x="248" y="371"/>
                  <a:pt x="250" y="369"/>
                  <a:pt x="252" y="368"/>
                </a:cubicBezTo>
                <a:cubicBezTo>
                  <a:pt x="269" y="364"/>
                  <a:pt x="284" y="358"/>
                  <a:pt x="298" y="349"/>
                </a:cubicBezTo>
                <a:cubicBezTo>
                  <a:pt x="301" y="348"/>
                  <a:pt x="304" y="348"/>
                  <a:pt x="306" y="350"/>
                </a:cubicBezTo>
                <a:cubicBezTo>
                  <a:pt x="325" y="369"/>
                  <a:pt x="325" y="369"/>
                  <a:pt x="325" y="369"/>
                </a:cubicBezTo>
                <a:cubicBezTo>
                  <a:pt x="332" y="376"/>
                  <a:pt x="344" y="376"/>
                  <a:pt x="352" y="369"/>
                </a:cubicBezTo>
                <a:cubicBezTo>
                  <a:pt x="369" y="351"/>
                  <a:pt x="369" y="351"/>
                  <a:pt x="369" y="351"/>
                </a:cubicBezTo>
                <a:cubicBezTo>
                  <a:pt x="377" y="344"/>
                  <a:pt x="377" y="332"/>
                  <a:pt x="369" y="324"/>
                </a:cubicBezTo>
                <a:cubicBezTo>
                  <a:pt x="351" y="306"/>
                  <a:pt x="351" y="306"/>
                  <a:pt x="351" y="306"/>
                </a:cubicBezTo>
                <a:cubicBezTo>
                  <a:pt x="349" y="304"/>
                  <a:pt x="348" y="302"/>
                  <a:pt x="349" y="299"/>
                </a:cubicBezTo>
                <a:cubicBezTo>
                  <a:pt x="349" y="299"/>
                  <a:pt x="349" y="298"/>
                  <a:pt x="349" y="298"/>
                </a:cubicBezTo>
                <a:cubicBezTo>
                  <a:pt x="358" y="284"/>
                  <a:pt x="364" y="268"/>
                  <a:pt x="368" y="252"/>
                </a:cubicBezTo>
                <a:cubicBezTo>
                  <a:pt x="369" y="249"/>
                  <a:pt x="371" y="247"/>
                  <a:pt x="374" y="247"/>
                </a:cubicBezTo>
                <a:cubicBezTo>
                  <a:pt x="401" y="247"/>
                  <a:pt x="401" y="247"/>
                  <a:pt x="401" y="247"/>
                </a:cubicBezTo>
                <a:cubicBezTo>
                  <a:pt x="412" y="247"/>
                  <a:pt x="420" y="239"/>
                  <a:pt x="420" y="228"/>
                </a:cubicBezTo>
                <a:cubicBezTo>
                  <a:pt x="420" y="203"/>
                  <a:pt x="420" y="203"/>
                  <a:pt x="420" y="203"/>
                </a:cubicBezTo>
                <a:cubicBezTo>
                  <a:pt x="420" y="193"/>
                  <a:pt x="412" y="184"/>
                  <a:pt x="401" y="184"/>
                </a:cubicBezTo>
                <a:cubicBezTo>
                  <a:pt x="374" y="184"/>
                  <a:pt x="374" y="184"/>
                  <a:pt x="374" y="184"/>
                </a:cubicBezTo>
                <a:cubicBezTo>
                  <a:pt x="371" y="184"/>
                  <a:pt x="369" y="182"/>
                  <a:pt x="368" y="180"/>
                </a:cubicBezTo>
                <a:cubicBezTo>
                  <a:pt x="364" y="163"/>
                  <a:pt x="358" y="148"/>
                  <a:pt x="349" y="134"/>
                </a:cubicBezTo>
                <a:cubicBezTo>
                  <a:pt x="348" y="131"/>
                  <a:pt x="348" y="128"/>
                  <a:pt x="350" y="12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77" y="100"/>
                  <a:pt x="377" y="88"/>
                  <a:pt x="369" y="80"/>
                </a:cubicBezTo>
                <a:cubicBezTo>
                  <a:pt x="352" y="63"/>
                  <a:pt x="352" y="63"/>
                  <a:pt x="352" y="63"/>
                </a:cubicBezTo>
                <a:cubicBezTo>
                  <a:pt x="344" y="55"/>
                  <a:pt x="332" y="55"/>
                  <a:pt x="325" y="63"/>
                </a:cubicBezTo>
                <a:cubicBezTo>
                  <a:pt x="306" y="82"/>
                  <a:pt x="306" y="82"/>
                  <a:pt x="306" y="82"/>
                </a:cubicBezTo>
                <a:cubicBezTo>
                  <a:pt x="304" y="84"/>
                  <a:pt x="300" y="84"/>
                  <a:pt x="298" y="83"/>
                </a:cubicBezTo>
                <a:cubicBezTo>
                  <a:pt x="284" y="74"/>
                  <a:pt x="269" y="68"/>
                  <a:pt x="252" y="64"/>
                </a:cubicBezTo>
                <a:cubicBezTo>
                  <a:pt x="250" y="63"/>
                  <a:pt x="248" y="61"/>
                  <a:pt x="248" y="58"/>
                </a:cubicBezTo>
                <a:cubicBezTo>
                  <a:pt x="248" y="31"/>
                  <a:pt x="248" y="31"/>
                  <a:pt x="248" y="31"/>
                </a:cubicBezTo>
                <a:cubicBezTo>
                  <a:pt x="248" y="20"/>
                  <a:pt x="239" y="12"/>
                  <a:pt x="229" y="12"/>
                </a:cubicBezTo>
                <a:cubicBezTo>
                  <a:pt x="204" y="12"/>
                  <a:pt x="204" y="12"/>
                  <a:pt x="204" y="12"/>
                </a:cubicBezTo>
                <a:cubicBezTo>
                  <a:pt x="193" y="12"/>
                  <a:pt x="185" y="20"/>
                  <a:pt x="185" y="31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61"/>
                  <a:pt x="183" y="63"/>
                  <a:pt x="180" y="64"/>
                </a:cubicBezTo>
                <a:cubicBezTo>
                  <a:pt x="164" y="68"/>
                  <a:pt x="148" y="74"/>
                  <a:pt x="134" y="83"/>
                </a:cubicBezTo>
                <a:cubicBezTo>
                  <a:pt x="132" y="84"/>
                  <a:pt x="129" y="84"/>
                  <a:pt x="127" y="8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0" y="55"/>
                  <a:pt x="88" y="55"/>
                  <a:pt x="81" y="63"/>
                </a:cubicBezTo>
                <a:cubicBezTo>
                  <a:pt x="63" y="80"/>
                  <a:pt x="63" y="80"/>
                  <a:pt x="63" y="80"/>
                </a:cubicBezTo>
                <a:cubicBezTo>
                  <a:pt x="59" y="84"/>
                  <a:pt x="57" y="89"/>
                  <a:pt x="57" y="94"/>
                </a:cubicBezTo>
                <a:cubicBezTo>
                  <a:pt x="57" y="99"/>
                  <a:pt x="59" y="104"/>
                  <a:pt x="63" y="10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8"/>
                  <a:pt x="84" y="131"/>
                  <a:pt x="83" y="134"/>
                </a:cubicBezTo>
                <a:cubicBezTo>
                  <a:pt x="74" y="148"/>
                  <a:pt x="68" y="163"/>
                  <a:pt x="64" y="180"/>
                </a:cubicBezTo>
                <a:cubicBezTo>
                  <a:pt x="63" y="182"/>
                  <a:pt x="61" y="184"/>
                  <a:pt x="58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21" y="184"/>
                  <a:pt x="12" y="193"/>
                  <a:pt x="12" y="203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9"/>
                  <a:pt x="21" y="247"/>
                  <a:pt x="31" y="247"/>
                </a:cubicBezTo>
                <a:cubicBezTo>
                  <a:pt x="58" y="247"/>
                  <a:pt x="58" y="247"/>
                  <a:pt x="58" y="247"/>
                </a:cubicBezTo>
                <a:cubicBezTo>
                  <a:pt x="61" y="247"/>
                  <a:pt x="63" y="249"/>
                  <a:pt x="64" y="252"/>
                </a:cubicBezTo>
                <a:cubicBezTo>
                  <a:pt x="68" y="268"/>
                  <a:pt x="74" y="284"/>
                  <a:pt x="83" y="298"/>
                </a:cubicBezTo>
                <a:cubicBezTo>
                  <a:pt x="83" y="298"/>
                  <a:pt x="83" y="299"/>
                  <a:pt x="83" y="299"/>
                </a:cubicBezTo>
                <a:cubicBezTo>
                  <a:pt x="84" y="302"/>
                  <a:pt x="83" y="304"/>
                  <a:pt x="82" y="306"/>
                </a:cubicBezTo>
                <a:cubicBezTo>
                  <a:pt x="63" y="324"/>
                  <a:pt x="63" y="324"/>
                  <a:pt x="63" y="324"/>
                </a:cubicBezTo>
                <a:cubicBezTo>
                  <a:pt x="59" y="328"/>
                  <a:pt x="57" y="333"/>
                  <a:pt x="57" y="338"/>
                </a:cubicBezTo>
                <a:cubicBezTo>
                  <a:pt x="57" y="343"/>
                  <a:pt x="59" y="348"/>
                  <a:pt x="63" y="351"/>
                </a:cubicBezTo>
                <a:cubicBezTo>
                  <a:pt x="81" y="369"/>
                  <a:pt x="81" y="369"/>
                  <a:pt x="81" y="369"/>
                </a:cubicBezTo>
                <a:cubicBezTo>
                  <a:pt x="88" y="376"/>
                  <a:pt x="100" y="376"/>
                  <a:pt x="108" y="369"/>
                </a:cubicBezTo>
                <a:cubicBezTo>
                  <a:pt x="126" y="350"/>
                  <a:pt x="126" y="350"/>
                  <a:pt x="126" y="350"/>
                </a:cubicBezTo>
                <a:cubicBezTo>
                  <a:pt x="127" y="349"/>
                  <a:pt x="129" y="348"/>
                  <a:pt x="131" y="3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0" name="Freeform 156">
            <a:extLst>
              <a:ext uri="{FF2B5EF4-FFF2-40B4-BE49-F238E27FC236}">
                <a16:creationId xmlns:a16="http://schemas.microsoft.com/office/drawing/2014/main" id="{365D2701-A0E9-8136-276F-26CFFFCC9316}"/>
              </a:ext>
            </a:extLst>
          </p:cNvPr>
          <p:cNvSpPr>
            <a:spLocks noEditPoints="1"/>
          </p:cNvSpPr>
          <p:nvPr/>
        </p:nvSpPr>
        <p:spPr bwMode="auto">
          <a:xfrm>
            <a:off x="2303087" y="3065950"/>
            <a:ext cx="393687" cy="292812"/>
          </a:xfrm>
          <a:custGeom>
            <a:avLst/>
            <a:gdLst>
              <a:gd name="T0" fmla="*/ 90 w 218"/>
              <a:gd name="T1" fmla="*/ 163 h 163"/>
              <a:gd name="T2" fmla="*/ 86 w 218"/>
              <a:gd name="T3" fmla="*/ 161 h 163"/>
              <a:gd name="T4" fmla="*/ 2 w 218"/>
              <a:gd name="T5" fmla="*/ 77 h 163"/>
              <a:gd name="T6" fmla="*/ 2 w 218"/>
              <a:gd name="T7" fmla="*/ 68 h 163"/>
              <a:gd name="T8" fmla="*/ 31 w 218"/>
              <a:gd name="T9" fmla="*/ 39 h 163"/>
              <a:gd name="T10" fmla="*/ 40 w 218"/>
              <a:gd name="T11" fmla="*/ 39 h 163"/>
              <a:gd name="T12" fmla="*/ 90 w 218"/>
              <a:gd name="T13" fmla="*/ 90 h 163"/>
              <a:gd name="T14" fmla="*/ 177 w 218"/>
              <a:gd name="T15" fmla="*/ 2 h 163"/>
              <a:gd name="T16" fmla="*/ 186 w 218"/>
              <a:gd name="T17" fmla="*/ 2 h 163"/>
              <a:gd name="T18" fmla="*/ 215 w 218"/>
              <a:gd name="T19" fmla="*/ 32 h 163"/>
              <a:gd name="T20" fmla="*/ 215 w 218"/>
              <a:gd name="T21" fmla="*/ 40 h 163"/>
              <a:gd name="T22" fmla="*/ 95 w 218"/>
              <a:gd name="T23" fmla="*/ 161 h 163"/>
              <a:gd name="T24" fmla="*/ 90 w 218"/>
              <a:gd name="T25" fmla="*/ 163 h 163"/>
              <a:gd name="T26" fmla="*/ 15 w 218"/>
              <a:gd name="T27" fmla="*/ 73 h 163"/>
              <a:gd name="T28" fmla="*/ 90 w 218"/>
              <a:gd name="T29" fmla="*/ 148 h 163"/>
              <a:gd name="T30" fmla="*/ 202 w 218"/>
              <a:gd name="T31" fmla="*/ 36 h 163"/>
              <a:gd name="T32" fmla="*/ 182 w 218"/>
              <a:gd name="T33" fmla="*/ 15 h 163"/>
              <a:gd name="T34" fmla="*/ 95 w 218"/>
              <a:gd name="T35" fmla="*/ 103 h 163"/>
              <a:gd name="T36" fmla="*/ 86 w 218"/>
              <a:gd name="T37" fmla="*/ 103 h 163"/>
              <a:gd name="T38" fmla="*/ 35 w 218"/>
              <a:gd name="T39" fmla="*/ 52 h 163"/>
              <a:gd name="T40" fmla="*/ 15 w 218"/>
              <a:gd name="T41" fmla="*/ 7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8" h="163">
                <a:moveTo>
                  <a:pt x="90" y="163"/>
                </a:moveTo>
                <a:cubicBezTo>
                  <a:pt x="89" y="163"/>
                  <a:pt x="87" y="162"/>
                  <a:pt x="86" y="161"/>
                </a:cubicBezTo>
                <a:cubicBezTo>
                  <a:pt x="2" y="77"/>
                  <a:pt x="2" y="77"/>
                  <a:pt x="2" y="77"/>
                </a:cubicBezTo>
                <a:cubicBezTo>
                  <a:pt x="0" y="75"/>
                  <a:pt x="0" y="71"/>
                  <a:pt x="2" y="68"/>
                </a:cubicBezTo>
                <a:cubicBezTo>
                  <a:pt x="31" y="39"/>
                  <a:pt x="31" y="39"/>
                  <a:pt x="31" y="39"/>
                </a:cubicBezTo>
                <a:cubicBezTo>
                  <a:pt x="33" y="37"/>
                  <a:pt x="38" y="37"/>
                  <a:pt x="40" y="39"/>
                </a:cubicBezTo>
                <a:cubicBezTo>
                  <a:pt x="90" y="90"/>
                  <a:pt x="90" y="90"/>
                  <a:pt x="90" y="90"/>
                </a:cubicBezTo>
                <a:cubicBezTo>
                  <a:pt x="177" y="2"/>
                  <a:pt x="177" y="2"/>
                  <a:pt x="177" y="2"/>
                </a:cubicBezTo>
                <a:cubicBezTo>
                  <a:pt x="180" y="0"/>
                  <a:pt x="184" y="0"/>
                  <a:pt x="186" y="2"/>
                </a:cubicBezTo>
                <a:cubicBezTo>
                  <a:pt x="215" y="32"/>
                  <a:pt x="215" y="32"/>
                  <a:pt x="215" y="32"/>
                </a:cubicBezTo>
                <a:cubicBezTo>
                  <a:pt x="218" y="34"/>
                  <a:pt x="218" y="38"/>
                  <a:pt x="215" y="4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3" y="162"/>
                  <a:pt x="92" y="163"/>
                  <a:pt x="90" y="163"/>
                </a:cubicBezTo>
                <a:close/>
                <a:moveTo>
                  <a:pt x="15" y="73"/>
                </a:moveTo>
                <a:cubicBezTo>
                  <a:pt x="90" y="148"/>
                  <a:pt x="90" y="148"/>
                  <a:pt x="90" y="14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182" y="15"/>
                  <a:pt x="182" y="15"/>
                  <a:pt x="182" y="15"/>
                </a:cubicBezTo>
                <a:cubicBezTo>
                  <a:pt x="95" y="103"/>
                  <a:pt x="95" y="103"/>
                  <a:pt x="95" y="103"/>
                </a:cubicBezTo>
                <a:cubicBezTo>
                  <a:pt x="92" y="105"/>
                  <a:pt x="88" y="105"/>
                  <a:pt x="86" y="103"/>
                </a:cubicBezTo>
                <a:cubicBezTo>
                  <a:pt x="35" y="52"/>
                  <a:pt x="35" y="52"/>
                  <a:pt x="35" y="52"/>
                </a:cubicBezTo>
                <a:lnTo>
                  <a:pt x="15" y="7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  <p:sp>
        <p:nvSpPr>
          <p:cNvPr id="121" name="Freeform 157">
            <a:extLst>
              <a:ext uri="{FF2B5EF4-FFF2-40B4-BE49-F238E27FC236}">
                <a16:creationId xmlns:a16="http://schemas.microsoft.com/office/drawing/2014/main" id="{207601B3-ACF5-6CFE-4EAE-6D4DD87E59CF}"/>
              </a:ext>
            </a:extLst>
          </p:cNvPr>
          <p:cNvSpPr>
            <a:spLocks noEditPoints="1"/>
          </p:cNvSpPr>
          <p:nvPr/>
        </p:nvSpPr>
        <p:spPr bwMode="auto">
          <a:xfrm>
            <a:off x="2106243" y="2805680"/>
            <a:ext cx="787372" cy="780821"/>
          </a:xfrm>
          <a:custGeom>
            <a:avLst/>
            <a:gdLst>
              <a:gd name="T0" fmla="*/ 191 w 436"/>
              <a:gd name="T1" fmla="*/ 422 h 433"/>
              <a:gd name="T2" fmla="*/ 116 w 436"/>
              <a:gd name="T3" fmla="*/ 397 h 433"/>
              <a:gd name="T4" fmla="*/ 93 w 436"/>
              <a:gd name="T5" fmla="*/ 381 h 433"/>
              <a:gd name="T6" fmla="*/ 55 w 436"/>
              <a:gd name="T7" fmla="*/ 344 h 433"/>
              <a:gd name="T8" fmla="*/ 20 w 436"/>
              <a:gd name="T9" fmla="*/ 301 h 433"/>
              <a:gd name="T10" fmla="*/ 20 w 436"/>
              <a:gd name="T11" fmla="*/ 272 h 433"/>
              <a:gd name="T12" fmla="*/ 14 w 436"/>
              <a:gd name="T13" fmla="*/ 244 h 433"/>
              <a:gd name="T14" fmla="*/ 19 w 436"/>
              <a:gd name="T15" fmla="*/ 165 h 433"/>
              <a:gd name="T16" fmla="*/ 40 w 436"/>
              <a:gd name="T17" fmla="*/ 116 h 433"/>
              <a:gd name="T18" fmla="*/ 55 w 436"/>
              <a:gd name="T19" fmla="*/ 93 h 433"/>
              <a:gd name="T20" fmla="*/ 115 w 436"/>
              <a:gd name="T21" fmla="*/ 40 h 433"/>
              <a:gd name="T22" fmla="*/ 164 w 436"/>
              <a:gd name="T23" fmla="*/ 21 h 433"/>
              <a:gd name="T24" fmla="*/ 191 w 436"/>
              <a:gd name="T25" fmla="*/ 15 h 433"/>
              <a:gd name="T26" fmla="*/ 271 w 436"/>
              <a:gd name="T27" fmla="*/ 20 h 433"/>
              <a:gd name="T28" fmla="*/ 319 w 436"/>
              <a:gd name="T29" fmla="*/ 41 h 433"/>
              <a:gd name="T30" fmla="*/ 343 w 436"/>
              <a:gd name="T31" fmla="*/ 56 h 433"/>
              <a:gd name="T32" fmla="*/ 395 w 436"/>
              <a:gd name="T33" fmla="*/ 116 h 433"/>
              <a:gd name="T34" fmla="*/ 415 w 436"/>
              <a:gd name="T35" fmla="*/ 164 h 433"/>
              <a:gd name="T36" fmla="*/ 420 w 436"/>
              <a:gd name="T37" fmla="*/ 191 h 433"/>
              <a:gd name="T38" fmla="*/ 421 w 436"/>
              <a:gd name="T39" fmla="*/ 244 h 433"/>
              <a:gd name="T40" fmla="*/ 416 w 436"/>
              <a:gd name="T41" fmla="*/ 271 h 433"/>
              <a:gd name="T42" fmla="*/ 395 w 436"/>
              <a:gd name="T43" fmla="*/ 320 h 433"/>
              <a:gd name="T44" fmla="*/ 380 w 436"/>
              <a:gd name="T45" fmla="*/ 344 h 433"/>
              <a:gd name="T46" fmla="*/ 320 w 436"/>
              <a:gd name="T47" fmla="*/ 396 h 433"/>
              <a:gd name="T48" fmla="*/ 272 w 436"/>
              <a:gd name="T49" fmla="*/ 416 h 433"/>
              <a:gd name="T50" fmla="*/ 244 w 436"/>
              <a:gd name="T51" fmla="*/ 421 h 433"/>
              <a:gd name="T52" fmla="*/ 218 w 436"/>
              <a:gd name="T53" fmla="*/ 433 h 433"/>
              <a:gd name="T54" fmla="*/ 200 w 436"/>
              <a:gd name="T55" fmla="*/ 413 h 433"/>
              <a:gd name="T56" fmla="*/ 236 w 436"/>
              <a:gd name="T57" fmla="*/ 412 h 433"/>
              <a:gd name="T58" fmla="*/ 277 w 436"/>
              <a:gd name="T59" fmla="*/ 405 h 433"/>
              <a:gd name="T60" fmla="*/ 309 w 436"/>
              <a:gd name="T61" fmla="*/ 391 h 433"/>
              <a:gd name="T62" fmla="*/ 368 w 436"/>
              <a:gd name="T63" fmla="*/ 344 h 433"/>
              <a:gd name="T64" fmla="*/ 390 w 436"/>
              <a:gd name="T65" fmla="*/ 309 h 433"/>
              <a:gd name="T66" fmla="*/ 404 w 436"/>
              <a:gd name="T67" fmla="*/ 276 h 433"/>
              <a:gd name="T68" fmla="*/ 412 w 436"/>
              <a:gd name="T69" fmla="*/ 201 h 433"/>
              <a:gd name="T70" fmla="*/ 404 w 436"/>
              <a:gd name="T71" fmla="*/ 160 h 433"/>
              <a:gd name="T72" fmla="*/ 404 w 436"/>
              <a:gd name="T73" fmla="*/ 140 h 433"/>
              <a:gd name="T74" fmla="*/ 368 w 436"/>
              <a:gd name="T75" fmla="*/ 93 h 433"/>
              <a:gd name="T76" fmla="*/ 342 w 436"/>
              <a:gd name="T77" fmla="*/ 68 h 433"/>
              <a:gd name="T78" fmla="*/ 308 w 436"/>
              <a:gd name="T79" fmla="*/ 45 h 433"/>
              <a:gd name="T80" fmla="*/ 235 w 436"/>
              <a:gd name="T81" fmla="*/ 23 h 433"/>
              <a:gd name="T82" fmla="*/ 199 w 436"/>
              <a:gd name="T83" fmla="*/ 24 h 433"/>
              <a:gd name="T84" fmla="*/ 159 w 436"/>
              <a:gd name="T85" fmla="*/ 32 h 433"/>
              <a:gd name="T86" fmla="*/ 92 w 436"/>
              <a:gd name="T87" fmla="*/ 68 h 433"/>
              <a:gd name="T88" fmla="*/ 67 w 436"/>
              <a:gd name="T89" fmla="*/ 94 h 433"/>
              <a:gd name="T90" fmla="*/ 44 w 436"/>
              <a:gd name="T91" fmla="*/ 128 h 433"/>
              <a:gd name="T92" fmla="*/ 23 w 436"/>
              <a:gd name="T93" fmla="*/ 201 h 433"/>
              <a:gd name="T94" fmla="*/ 23 w 436"/>
              <a:gd name="T95" fmla="*/ 236 h 433"/>
              <a:gd name="T96" fmla="*/ 31 w 436"/>
              <a:gd name="T97" fmla="*/ 277 h 433"/>
              <a:gd name="T98" fmla="*/ 44 w 436"/>
              <a:gd name="T99" fmla="*/ 309 h 433"/>
              <a:gd name="T100" fmla="*/ 92 w 436"/>
              <a:gd name="T101" fmla="*/ 368 h 433"/>
              <a:gd name="T102" fmla="*/ 127 w 436"/>
              <a:gd name="T103" fmla="*/ 391 h 433"/>
              <a:gd name="T104" fmla="*/ 160 w 436"/>
              <a:gd name="T105" fmla="*/ 405 h 433"/>
              <a:gd name="T106" fmla="*/ 417 w 436"/>
              <a:gd name="T107" fmla="*/ 240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6" h="433">
                <a:moveTo>
                  <a:pt x="218" y="433"/>
                </a:moveTo>
                <a:cubicBezTo>
                  <a:pt x="208" y="433"/>
                  <a:pt x="199" y="429"/>
                  <a:pt x="191" y="422"/>
                </a:cubicBezTo>
                <a:cubicBezTo>
                  <a:pt x="184" y="415"/>
                  <a:pt x="174" y="413"/>
                  <a:pt x="164" y="416"/>
                </a:cubicBezTo>
                <a:cubicBezTo>
                  <a:pt x="146" y="424"/>
                  <a:pt x="124" y="415"/>
                  <a:pt x="116" y="397"/>
                </a:cubicBezTo>
                <a:cubicBezTo>
                  <a:pt x="116" y="396"/>
                  <a:pt x="116" y="396"/>
                  <a:pt x="116" y="396"/>
                </a:cubicBezTo>
                <a:cubicBezTo>
                  <a:pt x="112" y="387"/>
                  <a:pt x="103" y="381"/>
                  <a:pt x="93" y="381"/>
                </a:cubicBezTo>
                <a:cubicBezTo>
                  <a:pt x="92" y="381"/>
                  <a:pt x="92" y="381"/>
                  <a:pt x="92" y="381"/>
                </a:cubicBezTo>
                <a:cubicBezTo>
                  <a:pt x="72" y="381"/>
                  <a:pt x="55" y="364"/>
                  <a:pt x="55" y="344"/>
                </a:cubicBezTo>
                <a:cubicBezTo>
                  <a:pt x="55" y="334"/>
                  <a:pt x="49" y="325"/>
                  <a:pt x="40" y="321"/>
                </a:cubicBezTo>
                <a:cubicBezTo>
                  <a:pt x="31" y="317"/>
                  <a:pt x="24" y="310"/>
                  <a:pt x="20" y="301"/>
                </a:cubicBezTo>
                <a:cubicBezTo>
                  <a:pt x="16" y="292"/>
                  <a:pt x="16" y="282"/>
                  <a:pt x="20" y="273"/>
                </a:cubicBezTo>
                <a:cubicBezTo>
                  <a:pt x="20" y="272"/>
                  <a:pt x="20" y="272"/>
                  <a:pt x="20" y="272"/>
                </a:cubicBezTo>
                <a:cubicBezTo>
                  <a:pt x="24" y="263"/>
                  <a:pt x="22" y="252"/>
                  <a:pt x="15" y="245"/>
                </a:cubicBezTo>
                <a:cubicBezTo>
                  <a:pt x="14" y="244"/>
                  <a:pt x="14" y="244"/>
                  <a:pt x="14" y="244"/>
                </a:cubicBezTo>
                <a:cubicBezTo>
                  <a:pt x="0" y="230"/>
                  <a:pt x="0" y="206"/>
                  <a:pt x="14" y="192"/>
                </a:cubicBezTo>
                <a:cubicBezTo>
                  <a:pt x="21" y="185"/>
                  <a:pt x="23" y="174"/>
                  <a:pt x="19" y="165"/>
                </a:cubicBezTo>
                <a:cubicBezTo>
                  <a:pt x="11" y="146"/>
                  <a:pt x="20" y="125"/>
                  <a:pt x="39" y="117"/>
                </a:cubicBezTo>
                <a:cubicBezTo>
                  <a:pt x="40" y="116"/>
                  <a:pt x="40" y="116"/>
                  <a:pt x="40" y="116"/>
                </a:cubicBezTo>
                <a:cubicBezTo>
                  <a:pt x="49" y="113"/>
                  <a:pt x="55" y="104"/>
                  <a:pt x="55" y="94"/>
                </a:cubicBezTo>
                <a:cubicBezTo>
                  <a:pt x="55" y="93"/>
                  <a:pt x="55" y="93"/>
                  <a:pt x="55" y="93"/>
                </a:cubicBezTo>
                <a:cubicBezTo>
                  <a:pt x="55" y="72"/>
                  <a:pt x="72" y="56"/>
                  <a:pt x="92" y="56"/>
                </a:cubicBezTo>
                <a:cubicBezTo>
                  <a:pt x="102" y="56"/>
                  <a:pt x="111" y="50"/>
                  <a:pt x="115" y="40"/>
                </a:cubicBezTo>
                <a:cubicBezTo>
                  <a:pt x="123" y="22"/>
                  <a:pt x="144" y="13"/>
                  <a:pt x="163" y="20"/>
                </a:cubicBezTo>
                <a:cubicBezTo>
                  <a:pt x="164" y="21"/>
                  <a:pt x="164" y="21"/>
                  <a:pt x="164" y="21"/>
                </a:cubicBezTo>
                <a:cubicBezTo>
                  <a:pt x="173" y="24"/>
                  <a:pt x="184" y="22"/>
                  <a:pt x="191" y="15"/>
                </a:cubicBezTo>
                <a:cubicBezTo>
                  <a:pt x="191" y="15"/>
                  <a:pt x="191" y="15"/>
                  <a:pt x="191" y="15"/>
                </a:cubicBezTo>
                <a:cubicBezTo>
                  <a:pt x="206" y="0"/>
                  <a:pt x="229" y="0"/>
                  <a:pt x="244" y="15"/>
                </a:cubicBezTo>
                <a:cubicBezTo>
                  <a:pt x="251" y="22"/>
                  <a:pt x="261" y="24"/>
                  <a:pt x="271" y="20"/>
                </a:cubicBezTo>
                <a:cubicBezTo>
                  <a:pt x="289" y="12"/>
                  <a:pt x="311" y="21"/>
                  <a:pt x="319" y="40"/>
                </a:cubicBezTo>
                <a:cubicBezTo>
                  <a:pt x="319" y="41"/>
                  <a:pt x="319" y="41"/>
                  <a:pt x="319" y="41"/>
                </a:cubicBezTo>
                <a:cubicBezTo>
                  <a:pt x="323" y="50"/>
                  <a:pt x="332" y="56"/>
                  <a:pt x="342" y="56"/>
                </a:cubicBezTo>
                <a:cubicBezTo>
                  <a:pt x="343" y="56"/>
                  <a:pt x="343" y="56"/>
                  <a:pt x="343" y="56"/>
                </a:cubicBezTo>
                <a:cubicBezTo>
                  <a:pt x="363" y="56"/>
                  <a:pt x="380" y="72"/>
                  <a:pt x="380" y="93"/>
                </a:cubicBezTo>
                <a:cubicBezTo>
                  <a:pt x="380" y="103"/>
                  <a:pt x="386" y="112"/>
                  <a:pt x="395" y="116"/>
                </a:cubicBezTo>
                <a:cubicBezTo>
                  <a:pt x="404" y="119"/>
                  <a:pt x="412" y="126"/>
                  <a:pt x="415" y="136"/>
                </a:cubicBezTo>
                <a:cubicBezTo>
                  <a:pt x="419" y="145"/>
                  <a:pt x="419" y="155"/>
                  <a:pt x="415" y="164"/>
                </a:cubicBezTo>
                <a:cubicBezTo>
                  <a:pt x="415" y="165"/>
                  <a:pt x="415" y="165"/>
                  <a:pt x="415" y="165"/>
                </a:cubicBezTo>
                <a:cubicBezTo>
                  <a:pt x="411" y="174"/>
                  <a:pt x="413" y="184"/>
                  <a:pt x="420" y="191"/>
                </a:cubicBezTo>
                <a:cubicBezTo>
                  <a:pt x="421" y="192"/>
                  <a:pt x="421" y="192"/>
                  <a:pt x="421" y="192"/>
                </a:cubicBezTo>
                <a:cubicBezTo>
                  <a:pt x="436" y="206"/>
                  <a:pt x="436" y="230"/>
                  <a:pt x="421" y="244"/>
                </a:cubicBezTo>
                <a:cubicBezTo>
                  <a:pt x="421" y="244"/>
                  <a:pt x="421" y="244"/>
                  <a:pt x="421" y="244"/>
                </a:cubicBezTo>
                <a:cubicBezTo>
                  <a:pt x="414" y="251"/>
                  <a:pt x="412" y="262"/>
                  <a:pt x="416" y="271"/>
                </a:cubicBezTo>
                <a:cubicBezTo>
                  <a:pt x="424" y="290"/>
                  <a:pt x="415" y="312"/>
                  <a:pt x="396" y="320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86" y="324"/>
                  <a:pt x="380" y="333"/>
                  <a:pt x="380" y="343"/>
                </a:cubicBezTo>
                <a:cubicBezTo>
                  <a:pt x="380" y="344"/>
                  <a:pt x="380" y="344"/>
                  <a:pt x="380" y="344"/>
                </a:cubicBezTo>
                <a:cubicBezTo>
                  <a:pt x="380" y="364"/>
                  <a:pt x="363" y="381"/>
                  <a:pt x="343" y="381"/>
                </a:cubicBezTo>
                <a:cubicBezTo>
                  <a:pt x="333" y="381"/>
                  <a:pt x="324" y="387"/>
                  <a:pt x="320" y="396"/>
                </a:cubicBezTo>
                <a:cubicBezTo>
                  <a:pt x="316" y="405"/>
                  <a:pt x="309" y="412"/>
                  <a:pt x="300" y="416"/>
                </a:cubicBezTo>
                <a:cubicBezTo>
                  <a:pt x="291" y="420"/>
                  <a:pt x="281" y="420"/>
                  <a:pt x="272" y="416"/>
                </a:cubicBezTo>
                <a:cubicBezTo>
                  <a:pt x="271" y="416"/>
                  <a:pt x="271" y="416"/>
                  <a:pt x="271" y="416"/>
                </a:cubicBezTo>
                <a:cubicBezTo>
                  <a:pt x="262" y="412"/>
                  <a:pt x="251" y="414"/>
                  <a:pt x="244" y="421"/>
                </a:cubicBezTo>
                <a:cubicBezTo>
                  <a:pt x="244" y="422"/>
                  <a:pt x="244" y="422"/>
                  <a:pt x="244" y="422"/>
                </a:cubicBezTo>
                <a:cubicBezTo>
                  <a:pt x="236" y="429"/>
                  <a:pt x="227" y="433"/>
                  <a:pt x="218" y="433"/>
                </a:cubicBezTo>
                <a:close/>
                <a:moveTo>
                  <a:pt x="174" y="402"/>
                </a:moveTo>
                <a:cubicBezTo>
                  <a:pt x="184" y="402"/>
                  <a:pt x="193" y="406"/>
                  <a:pt x="200" y="413"/>
                </a:cubicBezTo>
                <a:cubicBezTo>
                  <a:pt x="210" y="423"/>
                  <a:pt x="225" y="423"/>
                  <a:pt x="235" y="413"/>
                </a:cubicBezTo>
                <a:cubicBezTo>
                  <a:pt x="236" y="412"/>
                  <a:pt x="236" y="412"/>
                  <a:pt x="236" y="412"/>
                </a:cubicBezTo>
                <a:cubicBezTo>
                  <a:pt x="246" y="402"/>
                  <a:pt x="262" y="399"/>
                  <a:pt x="276" y="404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83" y="407"/>
                  <a:pt x="289" y="407"/>
                  <a:pt x="295" y="405"/>
                </a:cubicBezTo>
                <a:cubicBezTo>
                  <a:pt x="302" y="402"/>
                  <a:pt x="306" y="397"/>
                  <a:pt x="309" y="391"/>
                </a:cubicBezTo>
                <a:cubicBezTo>
                  <a:pt x="315" y="377"/>
                  <a:pt x="328" y="368"/>
                  <a:pt x="343" y="368"/>
                </a:cubicBezTo>
                <a:cubicBezTo>
                  <a:pt x="357" y="368"/>
                  <a:pt x="368" y="357"/>
                  <a:pt x="368" y="344"/>
                </a:cubicBezTo>
                <a:cubicBezTo>
                  <a:pt x="368" y="343"/>
                  <a:pt x="368" y="343"/>
                  <a:pt x="368" y="343"/>
                </a:cubicBezTo>
                <a:cubicBezTo>
                  <a:pt x="368" y="328"/>
                  <a:pt x="377" y="314"/>
                  <a:pt x="390" y="309"/>
                </a:cubicBezTo>
                <a:cubicBezTo>
                  <a:pt x="391" y="308"/>
                  <a:pt x="391" y="308"/>
                  <a:pt x="391" y="308"/>
                </a:cubicBezTo>
                <a:cubicBezTo>
                  <a:pt x="404" y="303"/>
                  <a:pt x="410" y="289"/>
                  <a:pt x="404" y="276"/>
                </a:cubicBezTo>
                <a:cubicBezTo>
                  <a:pt x="399" y="262"/>
                  <a:pt x="402" y="246"/>
                  <a:pt x="412" y="236"/>
                </a:cubicBezTo>
                <a:cubicBezTo>
                  <a:pt x="422" y="226"/>
                  <a:pt x="422" y="210"/>
                  <a:pt x="412" y="201"/>
                </a:cubicBezTo>
                <a:cubicBezTo>
                  <a:pt x="412" y="200"/>
                  <a:pt x="412" y="200"/>
                  <a:pt x="412" y="200"/>
                </a:cubicBezTo>
                <a:cubicBezTo>
                  <a:pt x="401" y="190"/>
                  <a:pt x="398" y="174"/>
                  <a:pt x="404" y="160"/>
                </a:cubicBezTo>
                <a:cubicBezTo>
                  <a:pt x="404" y="159"/>
                  <a:pt x="404" y="159"/>
                  <a:pt x="404" y="159"/>
                </a:cubicBezTo>
                <a:cubicBezTo>
                  <a:pt x="407" y="153"/>
                  <a:pt x="407" y="146"/>
                  <a:pt x="404" y="140"/>
                </a:cubicBezTo>
                <a:cubicBezTo>
                  <a:pt x="401" y="134"/>
                  <a:pt x="397" y="129"/>
                  <a:pt x="391" y="127"/>
                </a:cubicBezTo>
                <a:cubicBezTo>
                  <a:pt x="377" y="121"/>
                  <a:pt x="368" y="108"/>
                  <a:pt x="368" y="93"/>
                </a:cubicBezTo>
                <a:cubicBezTo>
                  <a:pt x="368" y="79"/>
                  <a:pt x="357" y="68"/>
                  <a:pt x="343" y="68"/>
                </a:cubicBezTo>
                <a:cubicBezTo>
                  <a:pt x="342" y="68"/>
                  <a:pt x="342" y="68"/>
                  <a:pt x="342" y="68"/>
                </a:cubicBezTo>
                <a:cubicBezTo>
                  <a:pt x="327" y="68"/>
                  <a:pt x="314" y="59"/>
                  <a:pt x="308" y="45"/>
                </a:cubicBezTo>
                <a:cubicBezTo>
                  <a:pt x="308" y="45"/>
                  <a:pt x="308" y="45"/>
                  <a:pt x="308" y="45"/>
                </a:cubicBezTo>
                <a:cubicBezTo>
                  <a:pt x="302" y="32"/>
                  <a:pt x="288" y="26"/>
                  <a:pt x="275" y="31"/>
                </a:cubicBezTo>
                <a:cubicBezTo>
                  <a:pt x="262" y="37"/>
                  <a:pt x="246" y="34"/>
                  <a:pt x="235" y="23"/>
                </a:cubicBezTo>
                <a:cubicBezTo>
                  <a:pt x="225" y="14"/>
                  <a:pt x="210" y="14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89" y="35"/>
                  <a:pt x="173" y="38"/>
                  <a:pt x="159" y="32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46" y="27"/>
                  <a:pt x="131" y="33"/>
                  <a:pt x="126" y="45"/>
                </a:cubicBezTo>
                <a:cubicBezTo>
                  <a:pt x="121" y="59"/>
                  <a:pt x="107" y="68"/>
                  <a:pt x="92" y="68"/>
                </a:cubicBezTo>
                <a:cubicBezTo>
                  <a:pt x="78" y="68"/>
                  <a:pt x="67" y="79"/>
                  <a:pt x="67" y="93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109"/>
                  <a:pt x="58" y="122"/>
                  <a:pt x="45" y="128"/>
                </a:cubicBezTo>
                <a:cubicBezTo>
                  <a:pt x="44" y="128"/>
                  <a:pt x="44" y="128"/>
                  <a:pt x="44" y="128"/>
                </a:cubicBezTo>
                <a:cubicBezTo>
                  <a:pt x="31" y="133"/>
                  <a:pt x="25" y="148"/>
                  <a:pt x="31" y="160"/>
                </a:cubicBezTo>
                <a:cubicBezTo>
                  <a:pt x="36" y="174"/>
                  <a:pt x="33" y="190"/>
                  <a:pt x="23" y="201"/>
                </a:cubicBezTo>
                <a:cubicBezTo>
                  <a:pt x="13" y="210"/>
                  <a:pt x="13" y="226"/>
                  <a:pt x="23" y="236"/>
                </a:cubicBezTo>
                <a:cubicBezTo>
                  <a:pt x="23" y="236"/>
                  <a:pt x="23" y="236"/>
                  <a:pt x="23" y="236"/>
                </a:cubicBezTo>
                <a:cubicBezTo>
                  <a:pt x="34" y="247"/>
                  <a:pt x="37" y="263"/>
                  <a:pt x="31" y="276"/>
                </a:cubicBezTo>
                <a:cubicBezTo>
                  <a:pt x="31" y="277"/>
                  <a:pt x="31" y="277"/>
                  <a:pt x="31" y="277"/>
                </a:cubicBezTo>
                <a:cubicBezTo>
                  <a:pt x="28" y="283"/>
                  <a:pt x="29" y="290"/>
                  <a:pt x="31" y="296"/>
                </a:cubicBezTo>
                <a:cubicBezTo>
                  <a:pt x="34" y="302"/>
                  <a:pt x="38" y="307"/>
                  <a:pt x="44" y="309"/>
                </a:cubicBezTo>
                <a:cubicBezTo>
                  <a:pt x="58" y="315"/>
                  <a:pt x="67" y="329"/>
                  <a:pt x="67" y="344"/>
                </a:cubicBezTo>
                <a:cubicBezTo>
                  <a:pt x="67" y="357"/>
                  <a:pt x="78" y="368"/>
                  <a:pt x="92" y="368"/>
                </a:cubicBezTo>
                <a:cubicBezTo>
                  <a:pt x="93" y="368"/>
                  <a:pt x="93" y="368"/>
                  <a:pt x="93" y="368"/>
                </a:cubicBezTo>
                <a:cubicBezTo>
                  <a:pt x="108" y="368"/>
                  <a:pt x="121" y="377"/>
                  <a:pt x="127" y="391"/>
                </a:cubicBezTo>
                <a:cubicBezTo>
                  <a:pt x="127" y="392"/>
                  <a:pt x="127" y="392"/>
                  <a:pt x="127" y="392"/>
                </a:cubicBezTo>
                <a:cubicBezTo>
                  <a:pt x="133" y="404"/>
                  <a:pt x="147" y="410"/>
                  <a:pt x="160" y="405"/>
                </a:cubicBezTo>
                <a:cubicBezTo>
                  <a:pt x="164" y="403"/>
                  <a:pt x="169" y="402"/>
                  <a:pt x="174" y="402"/>
                </a:cubicBezTo>
                <a:close/>
                <a:moveTo>
                  <a:pt x="417" y="240"/>
                </a:moveTo>
                <a:cubicBezTo>
                  <a:pt x="417" y="240"/>
                  <a:pt x="417" y="240"/>
                  <a:pt x="417" y="2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00199" tIns="100100" rIns="200199" bIns="100100" numCol="1" anchor="t" anchorCtr="0" compatLnSpc="1">
            <a:prstTxWarp prst="textNoShape">
              <a:avLst/>
            </a:prstTxWarp>
          </a:bodyPr>
          <a:lstStyle/>
          <a:p>
            <a:endParaRPr lang="en-IN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132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2</TotalTime>
  <Words>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roces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79</cp:revision>
  <dcterms:created xsi:type="dcterms:W3CDTF">2021-03-31T02:49:57Z</dcterms:created>
  <dcterms:modified xsi:type="dcterms:W3CDTF">2025-10-16T10:53:48Z</dcterms:modified>
  <cp:category/>
</cp:coreProperties>
</file>